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19.xml" ContentType="application/vnd.openxmlformats-officedocument.presentationml.notesSlide+xml"/>
  <Override PartName="/ppt/tags/tag3.xml" ContentType="application/vnd.openxmlformats-officedocument.presentationml.tags+xml"/>
  <Override PartName="/ppt/notesSlides/notesSlide20.xml" ContentType="application/vnd.openxmlformats-officedocument.presentationml.notesSlide+xml"/>
  <Override PartName="/ppt/tags/tag4.xml" ContentType="application/vnd.openxmlformats-officedocument.presentationml.tags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ink/ink12.xml" ContentType="application/inkml+xml"/>
  <Override PartName="/ppt/ink/ink1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8"/>
  </p:notesMasterIdLst>
  <p:sldIdLst>
    <p:sldId id="453" r:id="rId2"/>
    <p:sldId id="2147473250" r:id="rId3"/>
    <p:sldId id="2147473305" r:id="rId4"/>
    <p:sldId id="2147473304" r:id="rId5"/>
    <p:sldId id="2147473267" r:id="rId6"/>
    <p:sldId id="2147473285" r:id="rId7"/>
    <p:sldId id="2147473284" r:id="rId8"/>
    <p:sldId id="2147473290" r:id="rId9"/>
    <p:sldId id="454" r:id="rId10"/>
    <p:sldId id="2147473249" r:id="rId11"/>
    <p:sldId id="2147473251" r:id="rId12"/>
    <p:sldId id="2147473298" r:id="rId13"/>
    <p:sldId id="2147473301" r:id="rId14"/>
    <p:sldId id="2147473299" r:id="rId15"/>
    <p:sldId id="270" r:id="rId16"/>
    <p:sldId id="2147473300" r:id="rId17"/>
    <p:sldId id="2147473307" r:id="rId18"/>
    <p:sldId id="268" r:id="rId19"/>
    <p:sldId id="371" r:id="rId20"/>
    <p:sldId id="2147473258" r:id="rId21"/>
    <p:sldId id="2147473260" r:id="rId22"/>
    <p:sldId id="7490" r:id="rId23"/>
    <p:sldId id="2147473216" r:id="rId24"/>
    <p:sldId id="2147473261" r:id="rId25"/>
    <p:sldId id="2147473308" r:id="rId26"/>
    <p:sldId id="2147473262" r:id="rId27"/>
    <p:sldId id="2147473218" r:id="rId28"/>
    <p:sldId id="2147473219" r:id="rId29"/>
    <p:sldId id="2147473263" r:id="rId30"/>
    <p:sldId id="2147473264" r:id="rId31"/>
    <p:sldId id="2147473206" r:id="rId32"/>
    <p:sldId id="2147473265" r:id="rId33"/>
    <p:sldId id="2147473211" r:id="rId34"/>
    <p:sldId id="2147473233" r:id="rId35"/>
    <p:sldId id="2147473306" r:id="rId36"/>
    <p:sldId id="2147473241" r:id="rId37"/>
    <p:sldId id="2147473221" r:id="rId38"/>
    <p:sldId id="2147473223" r:id="rId39"/>
    <p:sldId id="2147473222" r:id="rId40"/>
    <p:sldId id="7513" r:id="rId41"/>
    <p:sldId id="2147473309" r:id="rId42"/>
    <p:sldId id="7554" r:id="rId43"/>
    <p:sldId id="2147473303" r:id="rId44"/>
    <p:sldId id="2147473271" r:id="rId45"/>
    <p:sldId id="7591" r:id="rId46"/>
    <p:sldId id="7529" r:id="rId47"/>
    <p:sldId id="7565" r:id="rId48"/>
    <p:sldId id="2147473277" r:id="rId49"/>
    <p:sldId id="455" r:id="rId50"/>
    <p:sldId id="2147473278" r:id="rId51"/>
    <p:sldId id="2147473279" r:id="rId52"/>
    <p:sldId id="2147473269" r:id="rId53"/>
    <p:sldId id="2147473270" r:id="rId54"/>
    <p:sldId id="2147473292" r:id="rId55"/>
    <p:sldId id="2147473293" r:id="rId56"/>
    <p:sldId id="2147473289" r:id="rId5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DF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47" autoAdjust="0"/>
  </p:normalViewPr>
  <p:slideViewPr>
    <p:cSldViewPr snapToGrid="0">
      <p:cViewPr>
        <p:scale>
          <a:sx n="50" d="100"/>
          <a:sy n="50" d="100"/>
        </p:scale>
        <p:origin x="128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4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09:05.419"/>
    </inkml:context>
    <inkml:brush xml:id="br0">
      <inkml:brushProperty name="width" value="0.3" units="cm"/>
      <inkml:brushProperty name="height" value="0.6" units="cm"/>
      <inkml:brushProperty name="color" value="#FF8517"/>
      <inkml:brushProperty name="tip" value="rectangle"/>
      <inkml:brushProperty name="rasterOp" value="maskPen"/>
      <inkml:brushProperty name="ignorePressure" value="1"/>
    </inkml:brush>
  </inkml:definitions>
  <inkml:trace contextRef="#ctx0" brushRef="#br0">1 0 0,'2064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2-03T22:16:43.004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2,'0'-2,"0"0,0 0,1 0,-1 0,1 0,-1 0,1 0,0 0,0 0,-1 0,1 1,1-1,-1 0,0 1,0-1,1 1,-1-1,1 1,-1-1,1 1,0 0,-1 0,1 0,2-1,51-16,-46 16,83-14,1 4,0 4,97 5,-116 2,1278 3,-1064 10,94 0,-356-12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2-03T22:16:44.232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2287'0,"-2263"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4T09:07:27.01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4T09:07:27.010"/>
    </inkml:context>
    <inkml:brush xml:id="br0">
      <inkml:brushProperty name="width" value="0.035" units="cm"/>
      <inkml:brushProperty name="height" value="0.035" units="cm"/>
      <inkml:brushProperty name="color" value="#E71224"/>
    </inkml:brush>
  </inkml:definitions>
  <inkml:trace contextRef="#ctx0" brushRef="#br0">0 1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2-03T22:09:15.276"/>
    </inkml:context>
    <inkml:brush xml:id="br0">
      <inkml:brushProperty name="width" value="0.3" units="cm"/>
      <inkml:brushProperty name="height" value="0.6" units="cm"/>
      <inkml:brushProperty name="color" value="#FF8517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232'11,"-92"-2,741 67,-636-51,190-16,-257-12,-32 3,-108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09:28.575"/>
    </inkml:context>
    <inkml:brush xml:id="br0">
      <inkml:brushProperty name="width" value="0.3" units="cm"/>
      <inkml:brushProperty name="height" value="0.6" units="cm"/>
      <inkml:brushProperty name="color" value="#FF8517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2846'52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09:30.929"/>
    </inkml:context>
    <inkml:brush xml:id="br0">
      <inkml:brushProperty name="width" value="0.3" units="cm"/>
      <inkml:brushProperty name="height" value="0.6" units="cm"/>
      <inkml:brushProperty name="color" value="#FF8517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6 0,'1347'-126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09:38.110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2439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11:50.683"/>
    </inkml:context>
    <inkml:brush xml:id="br0">
      <inkml:brushProperty name="width" value="0.3" units="cm"/>
      <inkml:brushProperty name="height" value="0.6" units="cm"/>
      <inkml:brushProperty name="color" value="#996633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1270'76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2-03T22:11:52.552"/>
    </inkml:context>
    <inkml:brush xml:id="br0">
      <inkml:brushProperty name="width" value="0.3" units="cm"/>
      <inkml:brushProperty name="height" value="0.6" units="cm"/>
      <inkml:brushProperty name="color" value="#996633"/>
      <inkml:brushProperty name="tip" value="rectangle"/>
      <inkml:brushProperty name="rasterOp" value="maskPen"/>
      <inkml:brushProperty name="ignorePressure" value="1"/>
    </inkml:brush>
  </inkml:definitions>
  <inkml:trace contextRef="#ctx0" brushRef="#br0">1 28,'0'1,"1"0,-1 0,1-1,-1 1,1 0,0 0,-1 0,1 0,0-1,0 1,-1 0,1-1,0 1,0-1,0 1,0-1,0 1,0-1,0 0,0 1,0-1,0 0,0 0,0 1,0-1,2 0,37 3,-32-2,515 6,-348-8,376-26,-451 15,-54 6,54-1,603 8,-674-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2-03T22:11:54.931"/>
    </inkml:context>
    <inkml:brush xml:id="br0">
      <inkml:brushProperty name="width" value="0.3" units="cm"/>
      <inkml:brushProperty name="height" value="0.6" units="cm"/>
      <inkml:brushProperty name="color" value="#996633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2522'125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2-03T22:16:41.633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1 28,'1'-1,"-1"-1,1 1,0 0,0 0,0-1,0 1,0 0,0 0,0 0,0 0,1 0,-1 1,0-1,1 0,-1 1,0-1,1 1,-1-1,1 1,-1-1,1 1,-1 0,1 0,-1 0,1 0,-1 0,3 0,0 0,121-8,127 8,-109 2,696-2,-679 13,-23-2,-103-10,12 1,93-8,-108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6F27CE-D5BB-4F0E-9ECA-AE1D3840E72B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EB4A96-F9C1-4087-83D1-FB6B5C072BB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6306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3516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FF7D8A-3734-3F10-1F10-3369FE09B8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25077E6-7368-94EF-3651-3C31077247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AEDAA1A-C91D-1DFC-DCCC-A05FA2557F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Der Umstand, dass der anaerobe Abbau organischer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Substanzen in mehreren Phasen erfolg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(siehe auch die Fachinformation „</a:t>
            </a:r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Prozessmodell</a:t>
            </a:r>
          </a:p>
          <a:p>
            <a:pPr algn="l"/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Biogas</a:t>
            </a:r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“) lässt sich verfahrenstechnisch durch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eine räumliche Trennung der Hydrolyse mit Versäuerung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on der Methanogenese nutzen. So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können bedarfsgerecht auch größere Mengen an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flüchtigen Fettsäuren zu Biogas mit hohem Methangehal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erarbeitet werden.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596AA1-5033-BEC1-026F-3CE06B9CFE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4501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2825D0F0-D659-454A-A727-F03162BCCE91}" type="slidenum">
              <a:rPr lang="de-DE" altLang="x-none">
                <a:solidFill>
                  <a:srgbClr val="000000"/>
                </a:solidFill>
                <a:latin typeface="Times New Roman" pitchFamily="16" charset="0"/>
              </a:rPr>
              <a:pPr eaLnBrk="1" hangingPunct="1"/>
              <a:t>18</a:t>
            </a:fld>
            <a:endParaRPr lang="de-DE" altLang="x-none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3" name="Text Box 1"/>
          <p:cNvSpPr txBox="1">
            <a:spLocks noChangeArrowheads="1"/>
          </p:cNvSpPr>
          <p:nvPr/>
        </p:nvSpPr>
        <p:spPr bwMode="auto">
          <a:xfrm>
            <a:off x="4278313" y="10156825"/>
            <a:ext cx="3275012" cy="52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528BB2B8-2812-464C-AAEA-A233FE37E7E3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8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4" name="Text Box 2"/>
          <p:cNvSpPr txBox="1">
            <a:spLocks noChangeArrowheads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25AC8C58-275A-44DC-902D-5C12E5365506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8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5" name="Rectangle 3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3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6566" name="Text Box 4"/>
          <p:cNvSpPr txBox="1"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x-none">
                <a:cs typeface="Arial Unicode MS" pitchFamily="32" charset="0"/>
              </a:rPr>
              <a:t>Harald Lindorfer hatte eineninteressanten Vergleich am Flipchart: Wachstum acidogene &amp; methanogene Organismen → etwas ähnliches überlegen &amp; entwickeln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D25D6-38E0-6A03-356F-B1AE8D7148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385BD6B-D5DB-77E2-760A-554297CB51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0865A94-6056-DB09-A6E0-49ADDCD42C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i="0" u="none" strike="noStrike" baseline="0" dirty="0"/>
              <a:t>umso leichter umzusetzen je rascher die organische Raumbelastung gesteigert und wieder reduziert werden kann, ohne dass es zu einer Prozessstörung kommt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 dirty="0"/>
              <a:t>Konservierungsverluste, Energiekonzentration, mikrobieller Abbaubarkeit				Abbaugeschwindigkeit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zeitliche Verfügbarkeit, seuchenhygienische 					Anforderungen, Anbaubedingungen, Flächenbedarf, genehmigungsrechtliche 				Anforderungen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logistischen Ansprüche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Bereitstellungskosten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D6E8EB-2815-3478-BEC8-DD64812CF5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920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i="0" u="none" strike="noStrike" baseline="0" dirty="0"/>
              <a:t>umso leichter umzusetzen je rascher die organische Raumbelastung gesteigert und wieder reduziert werden kann, ohne dass es zu einer Prozessstörung kommt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i="0" u="none" strike="noStrik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i="0" u="none" strike="noStrike" baseline="0" dirty="0"/>
              <a:t>Konservierungsverluste, Energiekonzentration, mikrobieller Abbaubarkeit				Abbaugeschwindigkeit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zeitliche Verfügbarkeit, seuchenhygienische 					Anforderungen, Anbaubedingungen, Flächenbedarf, genehmigungsrechtliche 				Anforderungen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logistischen Ansprüche,</a:t>
            </a:r>
            <a:r>
              <a:rPr lang="de-DE" b="0" i="0" u="none" strike="noStrike" dirty="0"/>
              <a:t> </a:t>
            </a:r>
            <a:r>
              <a:rPr lang="de-DE" b="0" i="0" u="none" strike="noStrike" baseline="0" dirty="0"/>
              <a:t>Bereitstellungskost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84395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DBE0B9-3836-69EF-97D0-DDFF9314D4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0DD3D66-02A6-730F-40AF-8EF622887D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CA8C080-F1A7-E225-FC78-8A66B188A6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Der Umstand, dass der anaerobe Abbau organischer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Substanzen in mehreren Phasen erfolg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(siehe auch die Fachinformation „</a:t>
            </a:r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Prozessmodell</a:t>
            </a:r>
          </a:p>
          <a:p>
            <a:pPr algn="l"/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Biogas</a:t>
            </a:r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“) lässt sich verfahrenstechnisch durch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eine räumliche Trennung der Hydrolyse mit Versäuerung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on der Methanogenese nutzen. So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können bedarfsgerecht auch größere Mengen an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flüchtigen Fettsäuren zu Biogas mit hohem Methangehal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erarbeitet werden.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A404DF4-8D72-6554-E265-EE6411FB20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665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2871307-AD0C-4700-A3C5-A6BB4FDD30ED}" type="slidenum">
              <a:rPr lang="de-DE" smtClean="0"/>
              <a:pPr>
                <a:defRPr/>
              </a:pPr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54447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ls Anregung der biologischen Abbauaktivität der Mikroorganismen nach der Fütterungspause hat es sich als empfehlenswert erwiesen, dem Fermenter am Sonntag, als „Appetithappen“ für die Mikroorganismen, geringe Mengen Substrat (Maissilage) zuzuführen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7967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2327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echnhohemische </a:t>
            </a:r>
            <a:r>
              <a:rPr lang="de-DE" sz="1200" dirty="0"/>
              <a:t>Herausforderungen bei alternativen Substraten mit Faseranteil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DD1FB3-9C10-1E46-8D34-12D2A63AD325}" type="slidenum">
              <a:rPr lang="de-DE" smtClean="0"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5968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CF9DD-0B6A-2F49-45BA-D69D442B1C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BB3B278-689B-5F77-BBEA-BE0DB23117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97842CD-34BC-AC69-F005-FCECCA6B21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echnhohemische </a:t>
            </a:r>
            <a:r>
              <a:rPr lang="de-DE" sz="1200" dirty="0"/>
              <a:t>Herausforderungen bei alternativen Substraten mit Faseranteil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0E712E-DE90-7457-4333-110DD4FCE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DD1FB3-9C10-1E46-8D34-12D2A63AD325}" type="slidenum">
              <a:rPr lang="de-DE" smtClean="0"/>
              <a:t>4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08949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82663-22F3-F70B-4F3F-BC5D14755B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6C4A33A-D964-F887-C613-F02BDAA824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666B8130-A09F-3E2F-800F-535DF2BF06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C7D390-2EB7-4610-4D93-6E996B1ECA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88756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5AFFB1-F2C4-A7A3-625A-48A5D460E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CE18CBE-17CB-A369-41A7-9F5D7942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DF7875-9953-4230-2A84-ECF6725015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echnhohemische </a:t>
            </a:r>
            <a:r>
              <a:rPr lang="de-DE" sz="1200" dirty="0"/>
              <a:t>Herausforderungen bei alternativen Substraten mit Faseranteil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0821A8-1848-7866-0BCE-916B6A277A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DD1FB3-9C10-1E46-8D34-12D2A63AD325}" type="slidenum">
              <a:rPr lang="de-DE" smtClean="0"/>
              <a:t>4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51155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Verdorbene Substrate // Molke // Versalzung / Pökel der Bakterien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A1DA1E-9236-4D21-A4E6-7814308A17C2}" type="slidenum">
              <a:rPr lang="de-DE" smtClean="0"/>
              <a:t>4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89621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Verdorbene Substrate // Molke // Versalzung / Pökel der Bakterien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A1DA1E-9236-4D21-A4E6-7814308A17C2}" type="slidenum">
              <a:rPr lang="de-DE" smtClean="0"/>
              <a:t>4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30149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7 Bedeuteungen  - was wir meinen – </a:t>
            </a:r>
          </a:p>
          <a:p>
            <a:r>
              <a:rPr lang="de-DE" dirty="0"/>
              <a:t>Was geht ab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DF4AEC-52FF-4AE8-8ED7-1618825D43F8}" type="slidenum">
              <a:rPr lang="de-DE" smtClean="0"/>
              <a:t>4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3445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4E210-0657-2ECF-FC2E-8EB1D022F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19E25B2-AD39-D03F-5A15-734299B12C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DB1C643-D73E-A11D-498B-1CF4351069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32D85C-A6E5-C1F7-49E4-DB80455597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0939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020E5-3BDE-766D-72CE-3670A4589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B365333-2638-72DB-7A47-A975EAA29E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82EFEF8-9253-C180-22D9-1C840EC568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Der Umstand, dass der anaerobe Abbau organischer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Substanzen in mehreren Phasen erfolg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(siehe auch die Fachinformation „</a:t>
            </a:r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Prozessmodell</a:t>
            </a:r>
          </a:p>
          <a:p>
            <a:pPr algn="l"/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Biogas</a:t>
            </a:r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“) lässt sich verfahrenstechnisch durch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eine räumliche Trennung der Hydrolyse mit Versäuerung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on der Methanogenese nutzen. So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können bedarfsgerecht auch größere Mengen an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flüchtigen Fettsäuren zu Biogas mit hohem Methangehal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erarbeitet werden.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9907D3-3B9C-E72E-3155-9F7EC46608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781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236DADD-25B9-E6FC-34EC-919C49BD2A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10">
            <a:extLst>
              <a:ext uri="{FF2B5EF4-FFF2-40B4-BE49-F238E27FC236}">
                <a16:creationId xmlns:a16="http://schemas.microsoft.com/office/drawing/2014/main" id="{7DBCC20C-760C-EA5C-7193-39B14B08E3E8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2825D0F0-D659-454A-A727-F03162BCCE91}" type="slidenum">
              <a:rPr lang="de-DE" altLang="x-none">
                <a:solidFill>
                  <a:srgbClr val="000000"/>
                </a:solidFill>
                <a:latin typeface="Times New Roman" pitchFamily="16" charset="0"/>
              </a:rPr>
              <a:pPr eaLnBrk="1" hangingPunct="1"/>
              <a:t>12</a:t>
            </a:fld>
            <a:endParaRPr lang="de-DE" altLang="x-none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3" name="Text Box 1">
            <a:extLst>
              <a:ext uri="{FF2B5EF4-FFF2-40B4-BE49-F238E27FC236}">
                <a16:creationId xmlns:a16="http://schemas.microsoft.com/office/drawing/2014/main" id="{FAF78420-82FF-3DAA-3B8E-E05CD3F977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5012" cy="52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528BB2B8-2812-464C-AAEA-A233FE37E7E3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2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4" name="Text Box 2">
            <a:extLst>
              <a:ext uri="{FF2B5EF4-FFF2-40B4-BE49-F238E27FC236}">
                <a16:creationId xmlns:a16="http://schemas.microsoft.com/office/drawing/2014/main" id="{F2995F6F-2272-64E0-DE31-3AA5FE4F6D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25AC8C58-275A-44DC-902D-5C12E5365506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2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5" name="Rectangle 3">
            <a:extLst>
              <a:ext uri="{FF2B5EF4-FFF2-40B4-BE49-F238E27FC236}">
                <a16:creationId xmlns:a16="http://schemas.microsoft.com/office/drawing/2014/main" id="{EAF8FE8A-7467-6FCB-2A10-6F6DB5D19FD6}"/>
              </a:ext>
            </a:extLst>
          </p:cNvPr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3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6566" name="Text Box 4">
            <a:extLst>
              <a:ext uri="{FF2B5EF4-FFF2-40B4-BE49-F238E27FC236}">
                <a16:creationId xmlns:a16="http://schemas.microsoft.com/office/drawing/2014/main" id="{A11CD396-FC8A-B7E5-25EE-C626F91527D0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x-none">
                <a:cs typeface="Arial Unicode MS" pitchFamily="32" charset="0"/>
              </a:rPr>
              <a:t>Harald Lindorfer hatte eineninteressanten Vergleich am Flipchart: Wachstum acidogene &amp; methanogene Organismen → etwas ähnliches überlegen &amp; entwickeln</a:t>
            </a:r>
          </a:p>
        </p:txBody>
      </p:sp>
    </p:spTree>
    <p:extLst>
      <p:ext uri="{BB962C8B-B14F-4D97-AF65-F5344CB8AC3E}">
        <p14:creationId xmlns:p14="http://schemas.microsoft.com/office/powerpoint/2010/main" val="1587034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3678F-824F-FBE0-0BB6-309475F85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628872A-707C-7C5B-BF3A-1B2259FA836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1BD166B-E80F-9C36-F6AF-DAC57488D3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Der Umstand, dass der anaerobe Abbau organischer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Substanzen in mehreren Phasen erfolg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(siehe auch die Fachinformation „</a:t>
            </a:r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Prozessmodell</a:t>
            </a:r>
          </a:p>
          <a:p>
            <a:pPr algn="l"/>
            <a:r>
              <a:rPr lang="de-DE" sz="1800" b="0" i="0" u="none" strike="noStrike" baseline="0" dirty="0">
                <a:solidFill>
                  <a:srgbClr val="275B9C"/>
                </a:solidFill>
                <a:latin typeface="Calibri" panose="020F0502020204030204" pitchFamily="34" charset="0"/>
              </a:rPr>
              <a:t>Biogas</a:t>
            </a:r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“) lässt sich verfahrenstechnisch durch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eine räumliche Trennung der Hydrolyse mit Versäuerung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on der Methanogenese nutzen. So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können bedarfsgerecht auch größere Mengen an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flüchtigen Fettsäuren zu Biogas mit hohem Methangehalt</a:t>
            </a:r>
          </a:p>
          <a:p>
            <a:pPr algn="l"/>
            <a:r>
              <a:rPr lang="de-DE" sz="1800" b="0" i="0" u="none" strike="noStrike" baseline="0" dirty="0">
                <a:solidFill>
                  <a:srgbClr val="595959"/>
                </a:solidFill>
                <a:latin typeface="Calibri" panose="020F0502020204030204" pitchFamily="34" charset="0"/>
              </a:rPr>
              <a:t>verarbeitet werden.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726054-C00E-4DD2-1C9A-7797827B56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EB4A96-F9C1-4087-83D1-FB6B5C072BB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7994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56E7CB-3F68-6FA6-C7CC-78F6060947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10">
            <a:extLst>
              <a:ext uri="{FF2B5EF4-FFF2-40B4-BE49-F238E27FC236}">
                <a16:creationId xmlns:a16="http://schemas.microsoft.com/office/drawing/2014/main" id="{E54631E0-8C58-F297-CE57-A8ECAFC60B5F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2825D0F0-D659-454A-A727-F03162BCCE91}" type="slidenum">
              <a:rPr lang="de-DE" altLang="x-none">
                <a:solidFill>
                  <a:srgbClr val="000000"/>
                </a:solidFill>
                <a:latin typeface="Times New Roman" pitchFamily="16" charset="0"/>
              </a:rPr>
              <a:pPr eaLnBrk="1" hangingPunct="1"/>
              <a:t>14</a:t>
            </a:fld>
            <a:endParaRPr lang="de-DE" altLang="x-none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3" name="Text Box 1">
            <a:extLst>
              <a:ext uri="{FF2B5EF4-FFF2-40B4-BE49-F238E27FC236}">
                <a16:creationId xmlns:a16="http://schemas.microsoft.com/office/drawing/2014/main" id="{A4D7853A-46B4-94A0-C6B0-DCCBF7DD5B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5012" cy="52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528BB2B8-2812-464C-AAEA-A233FE37E7E3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4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4" name="Text Box 2">
            <a:extLst>
              <a:ext uri="{FF2B5EF4-FFF2-40B4-BE49-F238E27FC236}">
                <a16:creationId xmlns:a16="http://schemas.microsoft.com/office/drawing/2014/main" id="{E21DDE6D-C348-114E-C7EB-59613092B5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25AC8C58-275A-44DC-902D-5C12E5365506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4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5" name="Rectangle 3">
            <a:extLst>
              <a:ext uri="{FF2B5EF4-FFF2-40B4-BE49-F238E27FC236}">
                <a16:creationId xmlns:a16="http://schemas.microsoft.com/office/drawing/2014/main" id="{21F8706E-E2FD-4E64-CA13-BFB4F80E5A5C}"/>
              </a:ext>
            </a:extLst>
          </p:cNvPr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3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6566" name="Text Box 4">
            <a:extLst>
              <a:ext uri="{FF2B5EF4-FFF2-40B4-BE49-F238E27FC236}">
                <a16:creationId xmlns:a16="http://schemas.microsoft.com/office/drawing/2014/main" id="{ECE8B986-9B27-F3B3-F0C8-D5E82AB6159E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x-none">
                <a:cs typeface="Arial Unicode MS" pitchFamily="32" charset="0"/>
              </a:rPr>
              <a:t>Harald Lindorfer hatte eineninteressanten Vergleich am Flipchart: Wachstum acidogene &amp; methanogene Organismen → etwas ähnliches überlegen &amp; entwickeln</a:t>
            </a:r>
          </a:p>
        </p:txBody>
      </p:sp>
    </p:spTree>
    <p:extLst>
      <p:ext uri="{BB962C8B-B14F-4D97-AF65-F5344CB8AC3E}">
        <p14:creationId xmlns:p14="http://schemas.microsoft.com/office/powerpoint/2010/main" val="1527502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487490D2-5064-4BA4-A5E7-A0DC6E305B74}" type="slidenum">
              <a:rPr lang="de-DE" altLang="x-none">
                <a:solidFill>
                  <a:srgbClr val="000000"/>
                </a:solidFill>
                <a:latin typeface="Times New Roman" pitchFamily="16" charset="0"/>
              </a:rPr>
              <a:pPr eaLnBrk="1" hangingPunct="1"/>
              <a:t>15</a:t>
            </a:fld>
            <a:endParaRPr lang="de-DE" altLang="x-none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8611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9075" y="812800"/>
            <a:ext cx="7113588" cy="40020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8612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2025" cy="480536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x-none" altLang="x-non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113DC9-2292-A49B-F8B4-4B10270E8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10">
            <a:extLst>
              <a:ext uri="{FF2B5EF4-FFF2-40B4-BE49-F238E27FC236}">
                <a16:creationId xmlns:a16="http://schemas.microsoft.com/office/drawing/2014/main" id="{33880E33-5198-D8D0-C3A2-A1703042B622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2825D0F0-D659-454A-A727-F03162BCCE91}" type="slidenum">
              <a:rPr lang="de-DE" altLang="x-none">
                <a:solidFill>
                  <a:srgbClr val="000000"/>
                </a:solidFill>
                <a:latin typeface="Times New Roman" pitchFamily="16" charset="0"/>
              </a:rPr>
              <a:pPr eaLnBrk="1" hangingPunct="1"/>
              <a:t>16</a:t>
            </a:fld>
            <a:endParaRPr lang="de-DE" altLang="x-none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3" name="Text Box 1">
            <a:extLst>
              <a:ext uri="{FF2B5EF4-FFF2-40B4-BE49-F238E27FC236}">
                <a16:creationId xmlns:a16="http://schemas.microsoft.com/office/drawing/2014/main" id="{CCF619CE-267E-CE82-29F3-97CB5A0D77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5012" cy="52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528BB2B8-2812-464C-AAEA-A233FE37E7E3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6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4" name="Text Box 2">
            <a:extLst>
              <a:ext uri="{FF2B5EF4-FFF2-40B4-BE49-F238E27FC236}">
                <a16:creationId xmlns:a16="http://schemas.microsoft.com/office/drawing/2014/main" id="{B1C7104A-CEBA-D4B1-4F27-5AEE2CC027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r" eaLnBrk="1" hangingPunct="1">
              <a:lnSpc>
                <a:spcPct val="92000"/>
              </a:lnSpc>
              <a:buClrTx/>
              <a:buFontTx/>
              <a:buNone/>
            </a:pPr>
            <a:fld id="{25AC8C58-275A-44DC-902D-5C12E5365506}" type="slidenum">
              <a:rPr lang="de-DE" altLang="x-none" sz="1400">
                <a:solidFill>
                  <a:srgbClr val="000000"/>
                </a:solidFill>
                <a:latin typeface="Times New Roman" pitchFamily="16" charset="0"/>
              </a:rPr>
              <a:pPr algn="r" eaLnBrk="1" hangingPunct="1">
                <a:lnSpc>
                  <a:spcPct val="92000"/>
                </a:lnSpc>
                <a:buClrTx/>
                <a:buFontTx/>
                <a:buNone/>
              </a:pPr>
              <a:t>16</a:t>
            </a:fld>
            <a:endParaRPr lang="de-DE" altLang="x-none" sz="1400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6565" name="Rectangle 3">
            <a:extLst>
              <a:ext uri="{FF2B5EF4-FFF2-40B4-BE49-F238E27FC236}">
                <a16:creationId xmlns:a16="http://schemas.microsoft.com/office/drawing/2014/main" id="{A6579DC5-FAD2-2C5F-368C-2FCD3CEAD11F}"/>
              </a:ext>
            </a:extLst>
          </p:cNvPr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3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6566" name="Text Box 4">
            <a:extLst>
              <a:ext uri="{FF2B5EF4-FFF2-40B4-BE49-F238E27FC236}">
                <a16:creationId xmlns:a16="http://schemas.microsoft.com/office/drawing/2014/main" id="{36E748E3-206C-9FAC-3AF0-53256F5D2AEB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x-none">
                <a:cs typeface="Arial Unicode MS" pitchFamily="32" charset="0"/>
              </a:rPr>
              <a:t>Harald Lindorfer hatte eineninteressanten Vergleich am Flipchart: Wachstum acidogene &amp; methanogene Organismen → etwas ähnliches überlegen &amp; entwickeln</a:t>
            </a:r>
          </a:p>
        </p:txBody>
      </p:sp>
    </p:spTree>
    <p:extLst>
      <p:ext uri="{BB962C8B-B14F-4D97-AF65-F5344CB8AC3E}">
        <p14:creationId xmlns:p14="http://schemas.microsoft.com/office/powerpoint/2010/main" val="2661216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A9A5-E0CE-0099-7535-2BF1A0D422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28BA32C-1F99-32D5-9400-7C8759FC85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09B9DF-813B-BDAE-94A9-2EF047965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FD9B74-1BF6-8AEE-6C1D-3FB460852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4268E13-5580-D1D5-7016-2582832FE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8707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1BF690C-DDF3-00C3-D68E-815B7311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3428279"/>
          </a:xfrm>
          <a:prstGeom prst="rect">
            <a:avLst/>
          </a:prstGeom>
        </p:spPr>
      </p:pic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95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4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Entwurf, Design enthält.&#10;&#10;Automatisch generierte Beschreibung">
            <a:extLst>
              <a:ext uri="{FF2B5EF4-FFF2-40B4-BE49-F238E27FC236}">
                <a16:creationId xmlns:a16="http://schemas.microsoft.com/office/drawing/2014/main" id="{5A2C0A12-4EFC-F949-9213-9F04415DD8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DB7639-B1C6-3846-9688-32BF1CAAFE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8988" y="701347"/>
            <a:ext cx="7510463" cy="460375"/>
          </a:xfrm>
        </p:spPr>
        <p:txBody>
          <a:bodyPr>
            <a:noAutofit/>
          </a:bodyPr>
          <a:lstStyle>
            <a:lvl1pPr>
              <a:buFontTx/>
              <a:buNone/>
              <a:defRPr sz="2800" b="1" i="0">
                <a:solidFill>
                  <a:srgbClr val="33333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863F473C-AD16-A742-BB93-3BA92FD8BE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8988" y="1161722"/>
            <a:ext cx="7510463" cy="460375"/>
          </a:xfrm>
        </p:spPr>
        <p:txBody>
          <a:bodyPr/>
          <a:lstStyle>
            <a:lvl1pPr>
              <a:buFontTx/>
              <a:buNone/>
              <a:defRPr sz="1800" b="0" i="0">
                <a:solidFill>
                  <a:srgbClr val="33333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0D7A04B7-1AC1-394B-8564-5317D324EE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8988" y="6475562"/>
            <a:ext cx="7510463" cy="379893"/>
          </a:xfrm>
        </p:spPr>
        <p:txBody>
          <a:bodyPr/>
          <a:lstStyle>
            <a:lvl1pPr>
              <a:buFontTx/>
              <a:buNone/>
              <a:defRPr sz="900" b="0" i="0" spc="0">
                <a:solidFill>
                  <a:srgbClr val="33333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E46F1659-F645-8A41-B869-B36ED31F0F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8988" y="1972605"/>
            <a:ext cx="9166884" cy="4042582"/>
          </a:xfrm>
        </p:spPr>
        <p:txBody>
          <a:bodyPr/>
          <a:lstStyle>
            <a:lvl1pPr>
              <a:buFontTx/>
              <a:buNone/>
              <a:defRPr sz="1500" b="0" i="0">
                <a:solidFill>
                  <a:srgbClr val="33333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91827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Entwurf, Design enthält.&#10;&#10;Automatisch generierte Beschreibung">
            <a:extLst>
              <a:ext uri="{FF2B5EF4-FFF2-40B4-BE49-F238E27FC236}">
                <a16:creationId xmlns:a16="http://schemas.microsoft.com/office/drawing/2014/main" id="{A8F50420-5233-C648-86E3-F147248AB9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platzhalter 15">
            <a:extLst>
              <a:ext uri="{FF2B5EF4-FFF2-40B4-BE49-F238E27FC236}">
                <a16:creationId xmlns:a16="http://schemas.microsoft.com/office/drawing/2014/main" id="{DF945C83-9376-034C-98F8-D23270DB54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8988" y="6475562"/>
            <a:ext cx="7510463" cy="379893"/>
          </a:xfrm>
        </p:spPr>
        <p:txBody>
          <a:bodyPr/>
          <a:lstStyle>
            <a:lvl1pPr>
              <a:buFontTx/>
              <a:buNone/>
              <a:defRPr sz="900" b="0" i="0" spc="0">
                <a:solidFill>
                  <a:srgbClr val="333333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2006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8C648-0B29-051F-6F11-535E6E0B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C879A2-3D16-D7E3-986D-92CF7D245B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895FC3-2350-1994-0419-3C6C48AC1F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BDBE99-4E63-D178-4333-BBF0D4B7F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C63868A-99C0-DBD2-BAAB-1810F2A4F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46230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9C52F3-3E42-D586-E35F-BECA0786E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DE6BD0-46FC-14F0-F0CE-008C7CB8A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F8E946D-1CDA-7898-32C7-CF85AEA27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E76F69-6E4E-4FE0-7F49-7439D1B6D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F7F017-86AE-DABB-72EB-D1541A1BE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999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7C272E-A6C4-B2E1-4151-147E7C298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996BCC-3FE1-B81C-3241-966DCE5907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3315533-2141-A473-806B-7D494ECE23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021038-B358-0E0B-0851-B633F2F4D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A290B8-D142-29F8-BA1E-6C20BBFA1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4AA4061-C9BE-225A-C548-D922EF6A4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347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2CC964-5318-36C0-1D6F-4E4DA0FAA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D7C7D-7526-2244-697E-C62C67300F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DE6108-2808-93A4-ADCE-E51319F883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ED1642-067E-2602-8710-37182EFB1F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E720C39-0D4A-252E-86D5-2B14A0F9AC7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40BCD0C-C751-848F-8C1B-3D5CAEC31E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3DB56AB-6635-5BB0-1933-0D41CBB1A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F01480A-04EC-971F-3BAC-6916ADDA4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723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0997B-24AF-5ECE-1DEC-E74B409E9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3855E57-8F39-C1A7-4565-2960ACCCD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260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7583A4E-D04F-EB8B-E99F-17163F420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3941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2500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B4BFE7-BEC9-237C-CD42-738997B46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4E61F22-C694-80EE-DFB4-E763AD903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7B43F80-1036-A52C-E52E-75CB632BAC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D7F729-F91E-5731-8F26-5DDD0140E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49EF19-0D56-4939-91CB-0AEB89DBFBA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764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Entwurf, Design enthält.&#10;&#10;Automatisch generierte Beschreibung">
            <a:extLst>
              <a:ext uri="{FF2B5EF4-FFF2-40B4-BE49-F238E27FC236}">
                <a16:creationId xmlns:a16="http://schemas.microsoft.com/office/drawing/2014/main" id="{69015F48-45C4-D8EA-D470-BDD65DDFDA84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8472C7C-5F55-7A49-BE82-4910C9432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C7F027-C39B-56B2-2129-6B8376470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71D7D7-CDF8-701B-3808-A034D420BE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B7DF21E-A2B3-4229-AD7D-E02D4B66B801}" type="datetimeFigureOut">
              <a:rPr lang="de-DE" smtClean="0"/>
              <a:t>11.06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3967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61" r:id="rId9"/>
    <p:sldLayoutId id="2147483662" r:id="rId10"/>
    <p:sldLayoutId id="2147483665" r:id="rId11"/>
    <p:sldLayoutId id="214748366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m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tmp"/><Relationship Id="rId5" Type="http://schemas.openxmlformats.org/officeDocument/2006/relationships/image" Target="../media/image15.tmp"/><Relationship Id="rId4" Type="http://schemas.openxmlformats.org/officeDocument/2006/relationships/image" Target="../media/image14.tm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customXml" Target="../ink/ink6.xml"/><Relationship Id="rId18" Type="http://schemas.openxmlformats.org/officeDocument/2006/relationships/image" Target="../media/image31.png"/><Relationship Id="rId3" Type="http://schemas.openxmlformats.org/officeDocument/2006/relationships/customXml" Target="../ink/ink1.xml"/><Relationship Id="rId21" Type="http://schemas.openxmlformats.org/officeDocument/2006/relationships/customXml" Target="../ink/ink10.xml"/><Relationship Id="rId7" Type="http://schemas.openxmlformats.org/officeDocument/2006/relationships/customXml" Target="../ink/ink3.xml"/><Relationship Id="rId12" Type="http://schemas.openxmlformats.org/officeDocument/2006/relationships/image" Target="../media/image280.png"/><Relationship Id="rId17" Type="http://schemas.openxmlformats.org/officeDocument/2006/relationships/customXml" Target="../ink/ink8.xml"/><Relationship Id="rId2" Type="http://schemas.openxmlformats.org/officeDocument/2006/relationships/image" Target="../media/image31.emf"/><Relationship Id="rId16" Type="http://schemas.openxmlformats.org/officeDocument/2006/relationships/image" Target="../media/image30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customXml" Target="../ink/ink5.xml"/><Relationship Id="rId24" Type="http://schemas.openxmlformats.org/officeDocument/2006/relationships/image" Target="../media/image34.png"/><Relationship Id="rId5" Type="http://schemas.openxmlformats.org/officeDocument/2006/relationships/customXml" Target="../ink/ink2.xml"/><Relationship Id="rId15" Type="http://schemas.openxmlformats.org/officeDocument/2006/relationships/customXml" Target="../ink/ink7.xml"/><Relationship Id="rId23" Type="http://schemas.openxmlformats.org/officeDocument/2006/relationships/customXml" Target="../ink/ink11.xml"/><Relationship Id="rId10" Type="http://schemas.openxmlformats.org/officeDocument/2006/relationships/image" Target="../media/image270.png"/><Relationship Id="rId19" Type="http://schemas.openxmlformats.org/officeDocument/2006/relationships/customXml" Target="../ink/ink9.xml"/><Relationship Id="rId4" Type="http://schemas.openxmlformats.org/officeDocument/2006/relationships/image" Target="../media/image240.png"/><Relationship Id="rId9" Type="http://schemas.openxmlformats.org/officeDocument/2006/relationships/customXml" Target="../ink/ink4.xml"/><Relationship Id="rId14" Type="http://schemas.openxmlformats.org/officeDocument/2006/relationships/image" Target="../media/image290.png"/><Relationship Id="rId22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6" Type="http://schemas.openxmlformats.org/officeDocument/2006/relationships/image" Target="../media/image35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video" Target="../media/media1.mov"/><Relationship Id="rId7" Type="http://schemas.openxmlformats.org/officeDocument/2006/relationships/image" Target="../media/image32.emf"/><Relationship Id="rId2" Type="http://schemas.microsoft.com/office/2007/relationships/media" Target="../media/media1.mov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customXml" Target="../ink/ink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ustomXml" Target="../ink/ink13.xm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0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mp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AA448DCC-0630-2B49-B5DC-72ACC583E49A}"/>
              </a:ext>
            </a:extLst>
          </p:cNvPr>
          <p:cNvSpPr txBox="1">
            <a:spLocks/>
          </p:cNvSpPr>
          <p:nvPr/>
        </p:nvSpPr>
        <p:spPr>
          <a:xfrm>
            <a:off x="1507493" y="2281376"/>
            <a:ext cx="8680506" cy="29267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4000" b="0" i="0" dirty="0">
                <a:solidFill>
                  <a:srgbClr val="222222"/>
                </a:solidFill>
                <a:effectLst/>
                <a:latin typeface="Roboto Condensed" panose="02000000000000000000" pitchFamily="2" charset="0"/>
              </a:rPr>
              <a:t>Biologische Flexibilisierung? </a:t>
            </a:r>
            <a:br>
              <a:rPr lang="de-DE" sz="4000" b="0" i="0" dirty="0">
                <a:solidFill>
                  <a:srgbClr val="222222"/>
                </a:solidFill>
                <a:effectLst/>
                <a:latin typeface="Roboto Condensed" panose="02000000000000000000" pitchFamily="2" charset="0"/>
              </a:rPr>
            </a:br>
            <a:r>
              <a:rPr lang="de-DE" sz="4000" b="0" i="0" dirty="0">
                <a:solidFill>
                  <a:srgbClr val="222222"/>
                </a:solidFill>
                <a:effectLst/>
                <a:latin typeface="Roboto Condensed" panose="02000000000000000000" pitchFamily="2" charset="0"/>
              </a:rPr>
              <a:t>Funktioniert, wenn man die Biologie versteht!</a:t>
            </a:r>
            <a:endParaRPr lang="de-DE" sz="5000" b="1" dirty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F0A8D11D-517D-F445-AFB9-EA9003B81BB9}"/>
              </a:ext>
            </a:extLst>
          </p:cNvPr>
          <p:cNvSpPr txBox="1">
            <a:spLocks/>
          </p:cNvSpPr>
          <p:nvPr/>
        </p:nvSpPr>
        <p:spPr>
          <a:xfrm>
            <a:off x="4082545" y="6268199"/>
            <a:ext cx="4520631" cy="269875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100" b="1" kern="0" dirty="0" err="1">
                <a:latin typeface="Arial Narrow" panose="020B0604020202020204" pitchFamily="34" charset="0"/>
                <a:cs typeface="Arial Narrow" panose="020B0604020202020204" pitchFamily="34" charset="0"/>
              </a:rPr>
              <a:t>Dr.</a:t>
            </a:r>
            <a:r>
              <a:rPr lang="en-GB" sz="2100" b="1" kern="0" dirty="0">
                <a:latin typeface="Arial Narrow" panose="020B0604020202020204" pitchFamily="34" charset="0"/>
                <a:cs typeface="Arial Narrow" panose="020B0604020202020204" pitchFamily="34" charset="0"/>
              </a:rPr>
              <a:t> Bettina Frauz </a:t>
            </a:r>
            <a:r>
              <a:rPr lang="en-GB" sz="2100" kern="0" dirty="0">
                <a:latin typeface="Arial Narrow" panose="020B0604020202020204" pitchFamily="34" charset="0"/>
                <a:cs typeface="Arial Narrow" panose="020B0604020202020204" pitchFamily="34" charset="0"/>
              </a:rPr>
              <a:t>// SCHAUMANN BioEnergy GmbH</a:t>
            </a:r>
          </a:p>
        </p:txBody>
      </p:sp>
      <p:pic>
        <p:nvPicPr>
          <p:cNvPr id="6" name="Grafik 5" descr="Ein Bild, das Schwarz, Dunkelheit, Kreis, Schwarzweiß enthält.&#10;&#10;Automatisch generierte Beschreibung">
            <a:extLst>
              <a:ext uri="{FF2B5EF4-FFF2-40B4-BE49-F238E27FC236}">
                <a16:creationId xmlns:a16="http://schemas.microsoft.com/office/drawing/2014/main" id="{B0D8E384-25E6-1440-88B1-42F84FEB20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7178724">
            <a:off x="869634" y="1654618"/>
            <a:ext cx="3839836" cy="2969139"/>
          </a:xfrm>
          <a:prstGeom prst="rect">
            <a:avLst/>
          </a:prstGeom>
        </p:spPr>
      </p:pic>
      <p:pic>
        <p:nvPicPr>
          <p:cNvPr id="7" name="Grafik 6" descr="Ein Bild, das Schwarz, Dunkelheit, Kreis, Schwarzweiß enthält.&#10;&#10;Automatisch generierte Beschreibung">
            <a:extLst>
              <a:ext uri="{FF2B5EF4-FFF2-40B4-BE49-F238E27FC236}">
                <a16:creationId xmlns:a16="http://schemas.microsoft.com/office/drawing/2014/main" id="{93C04776-17CC-2945-A4DB-AE366828DC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4949698">
            <a:off x="420176" y="1659288"/>
            <a:ext cx="4577355" cy="3539423"/>
          </a:xfrm>
          <a:prstGeom prst="rect">
            <a:avLst/>
          </a:prstGeom>
        </p:spPr>
      </p:pic>
      <p:pic>
        <p:nvPicPr>
          <p:cNvPr id="4" name="Grafik 3" descr="Ein Bild, das Text, Elektronik, Screenshot, Software enthält.&#10;&#10;KI-generierte Inhalte können fehlerhaft sein.">
            <a:extLst>
              <a:ext uri="{FF2B5EF4-FFF2-40B4-BE49-F238E27FC236}">
                <a16:creationId xmlns:a16="http://schemas.microsoft.com/office/drawing/2014/main" id="{2A0CFAE3-FA97-5ECB-FCFD-A34340C9AF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67" t="32071" r="4896" b="16667"/>
          <a:stretch/>
        </p:blipFill>
        <p:spPr>
          <a:xfrm>
            <a:off x="9020751" y="3912497"/>
            <a:ext cx="3171249" cy="2758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914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676984-A979-3FC5-99A3-6A93A29CC1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10F4DA-BB77-5546-DFC4-5D224144D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fferenzier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38A938-328F-2B8B-53DA-D3E844D091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7571" y="1690688"/>
            <a:ext cx="9340997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/>
              <a:t>bedarfsgerechten </a:t>
            </a:r>
            <a:r>
              <a:rPr lang="de-DE" sz="2800" b="1" dirty="0"/>
              <a:t>Biogasproduktion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überwiegend prozessbiologische Lösungen = Fütterungsmanagement </a:t>
            </a:r>
          </a:p>
          <a:p>
            <a:pPr marL="0" indent="0">
              <a:buNone/>
            </a:pPr>
            <a:br>
              <a:rPr lang="de-DE" sz="2800" dirty="0"/>
            </a:br>
            <a:r>
              <a:rPr lang="de-DE" sz="2800" dirty="0"/>
              <a:t>bedarfsgerechten </a:t>
            </a:r>
            <a:r>
              <a:rPr lang="de-DE" sz="2800" b="1" dirty="0"/>
              <a:t>Stromproduktion</a:t>
            </a:r>
            <a:r>
              <a:rPr lang="de-DE" sz="2800" dirty="0"/>
              <a:t> 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vornehmlich auf technischen Lösungen, wie einer Erweiterung von Biogasspeichersystemen, zur bedarfsgerechten Verwertung von Biogas zur Stromerzeugung</a:t>
            </a:r>
          </a:p>
        </p:txBody>
      </p:sp>
    </p:spTree>
    <p:extLst>
      <p:ext uri="{BB962C8B-B14F-4D97-AF65-F5344CB8AC3E}">
        <p14:creationId xmlns:p14="http://schemas.microsoft.com/office/powerpoint/2010/main" val="1253795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4F1FDC-4D35-BAF6-18A6-DBC2FA8459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090EAA-0DCE-0F80-0928-E779D8966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ologische Rahmenbedingungen</a:t>
            </a:r>
            <a:br>
              <a:rPr lang="de-DE" dirty="0"/>
            </a:br>
            <a:r>
              <a:rPr lang="de-DE" dirty="0"/>
              <a:t>// </a:t>
            </a:r>
            <a:r>
              <a:rPr lang="de-DE" sz="4400" dirty="0"/>
              <a:t>„hoch-runter“</a:t>
            </a:r>
            <a:br>
              <a:rPr lang="de-DE" sz="4400" dirty="0"/>
            </a:b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D8A8AAF-50A4-E159-BBCD-881F9EB97A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de-DE" sz="2400" dirty="0"/>
              <a:t>schnelle </a:t>
            </a:r>
            <a:r>
              <a:rPr lang="de-DE" sz="2400" b="1" dirty="0" err="1"/>
              <a:t>Hydrolysierer</a:t>
            </a:r>
            <a:r>
              <a:rPr lang="de-DE" sz="2400" dirty="0"/>
              <a:t> + Säurebildner  </a:t>
            </a:r>
            <a:r>
              <a:rPr lang="de-DE" sz="2400" dirty="0">
                <a:sym typeface="Wingdings" panose="05000000000000000000" pitchFamily="2" charset="2"/>
              </a:rPr>
              <a:t> </a:t>
            </a:r>
            <a:r>
              <a:rPr lang="de-DE" sz="2400" dirty="0"/>
              <a:t>pro Zeiteinheit dosierte,</a:t>
            </a:r>
            <a:br>
              <a:rPr lang="de-DE" sz="2400" dirty="0"/>
            </a:br>
            <a:r>
              <a:rPr lang="de-DE" sz="2400" dirty="0"/>
              <a:t>mikrobiell rasch abbaubare organische Substanz? </a:t>
            </a:r>
          </a:p>
          <a:p>
            <a:pPr marL="0" indent="0">
              <a:buNone/>
            </a:pPr>
            <a:endParaRPr lang="de-DE" sz="2400" dirty="0"/>
          </a:p>
        </p:txBody>
      </p:sp>
      <p:pic>
        <p:nvPicPr>
          <p:cNvPr id="5" name="Grafik 4" descr="Ein Bild, das Screenshot, Software, Multimedia-Software, Computer enthält.&#10;&#10;KI-generierte Inhalte können fehlerhaft sein.">
            <a:extLst>
              <a:ext uri="{FF2B5EF4-FFF2-40B4-BE49-F238E27FC236}">
                <a16:creationId xmlns:a16="http://schemas.microsoft.com/office/drawing/2014/main" id="{7934FE3D-8ACA-5089-DC06-199D81CA95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1" t="26948" r="25446" b="15569"/>
          <a:stretch/>
        </p:blipFill>
        <p:spPr>
          <a:xfrm>
            <a:off x="7252011" y="3635829"/>
            <a:ext cx="4939989" cy="308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849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BBF047-68DA-FC1D-53D9-AFCC0E4C88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nummernplatzhalter 1">
            <a:extLst>
              <a:ext uri="{FF2B5EF4-FFF2-40B4-BE49-F238E27FC236}">
                <a16:creationId xmlns:a16="http://schemas.microsoft.com/office/drawing/2014/main" id="{99D40A02-C4F3-8D1D-A5A8-A3AD83635F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3016766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3565268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4113771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4662274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34ED273E-19A3-4880-8DD2-1F8F80CF7A56}" type="slidenum">
              <a:rPr lang="de-DE" altLang="x-none">
                <a:solidFill>
                  <a:srgbClr val="FFFFFF"/>
                </a:solidFill>
                <a:latin typeface="Arial Narrow" panose="020B0606020202030204" pitchFamily="34" charset="0"/>
                <a:cs typeface="Segoe UI" charset="0"/>
              </a:rPr>
              <a:pPr eaLnBrk="1" hangingPunct="1"/>
              <a:t>12</a:t>
            </a:fld>
            <a:endParaRPr lang="de-DE" altLang="x-none">
              <a:solidFill>
                <a:srgbClr val="FFFFFF"/>
              </a:solidFill>
              <a:latin typeface="Arial Narrow" panose="020B0606020202030204" pitchFamily="34" charset="0"/>
              <a:cs typeface="Segoe UI" charset="0"/>
            </a:endParaRPr>
          </a:p>
        </p:txBody>
      </p:sp>
      <p:sp>
        <p:nvSpPr>
          <p:cNvPr id="15363" name="Fußzeilenplatzhalter 2">
            <a:extLst>
              <a:ext uri="{FF2B5EF4-FFF2-40B4-BE49-F238E27FC236}">
                <a16:creationId xmlns:a16="http://schemas.microsoft.com/office/drawing/2014/main" id="{CC1C1B34-49AB-2567-F854-DAACA8319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2160588" y="5532438"/>
            <a:ext cx="48228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Grundlagen der Biogaserzeugung - Katrin Kayser - www.ibbk-biogas.de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4" name="Datumsplatzhalter 3">
            <a:extLst>
              <a:ext uri="{FF2B5EF4-FFF2-40B4-BE49-F238E27FC236}">
                <a16:creationId xmlns:a16="http://schemas.microsoft.com/office/drawing/2014/main" id="{8569D315-3047-D58C-62DE-6C5BC6779FA1}"/>
              </a:ext>
            </a:extLst>
          </p:cNvPr>
          <p:cNvSpPr>
            <a:spLocks noGrp="1"/>
          </p:cNvSpPr>
          <p:nvPr>
            <p:ph type="dt" sz="quarter" idx="12"/>
          </p:nvPr>
        </p:nvSpPr>
        <p:spPr bwMode="auto">
          <a:xfrm>
            <a:off x="457200" y="5532438"/>
            <a:ext cx="21288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1. März 2023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5" name="Text Box 1">
            <a:extLst>
              <a:ext uri="{FF2B5EF4-FFF2-40B4-BE49-F238E27FC236}">
                <a16:creationId xmlns:a16="http://schemas.microsoft.com/office/drawing/2014/main" id="{1912564B-CC8B-1A4B-5A22-35A3FA386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9611" y="274243"/>
            <a:ext cx="8823415" cy="1136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>
              <a:lnSpc>
                <a:spcPct val="93000"/>
              </a:lnSpc>
              <a:buClrTx/>
              <a:buFontTx/>
              <a:buNone/>
            </a:pPr>
            <a:r>
              <a:rPr lang="de-DE" altLang="x-none" sz="4319" dirty="0">
                <a:solidFill>
                  <a:schemeClr val="tx1"/>
                </a:solidFill>
                <a:latin typeface="Arial Narrow" panose="020B0606020202030204" pitchFamily="34" charset="0"/>
              </a:rPr>
              <a:t>Abbauschritte</a:t>
            </a:r>
          </a:p>
        </p:txBody>
      </p:sp>
      <p:pic>
        <p:nvPicPr>
          <p:cNvPr id="15388" name="Picture 24">
            <a:extLst>
              <a:ext uri="{FF2B5EF4-FFF2-40B4-BE49-F238E27FC236}">
                <a16:creationId xmlns:a16="http://schemas.microsoft.com/office/drawing/2014/main" id="{69AE59D9-60DF-6A2A-6610-25022F852F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732"/>
          <a:stretch/>
        </p:blipFill>
        <p:spPr bwMode="auto">
          <a:xfrm>
            <a:off x="1967107" y="1521673"/>
            <a:ext cx="5330615" cy="1215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15389" name="Group 25">
            <a:extLst>
              <a:ext uri="{FF2B5EF4-FFF2-40B4-BE49-F238E27FC236}">
                <a16:creationId xmlns:a16="http://schemas.microsoft.com/office/drawing/2014/main" id="{9CEF4751-E8C6-FE5B-D5A3-4FE7BD7B5F8E}"/>
              </a:ext>
            </a:extLst>
          </p:cNvPr>
          <p:cNvGrpSpPr>
            <a:grpSpLocks/>
          </p:cNvGrpSpPr>
          <p:nvPr/>
        </p:nvGrpSpPr>
        <p:grpSpPr bwMode="auto">
          <a:xfrm>
            <a:off x="712302" y="1521673"/>
            <a:ext cx="516112" cy="3245219"/>
            <a:chOff x="227" y="839"/>
            <a:chExt cx="271" cy="1704"/>
          </a:xfrm>
        </p:grpSpPr>
        <p:sp>
          <p:nvSpPr>
            <p:cNvPr id="15393" name="AutoShape 26">
              <a:extLst>
                <a:ext uri="{FF2B5EF4-FFF2-40B4-BE49-F238E27FC236}">
                  <a16:creationId xmlns:a16="http://schemas.microsoft.com/office/drawing/2014/main" id="{BD7024E4-10FD-7883-C84A-B0CB38552B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" y="839"/>
              <a:ext cx="67" cy="1704"/>
            </a:xfrm>
            <a:prstGeom prst="downArrow">
              <a:avLst>
                <a:gd name="adj1" fmla="val 61194"/>
                <a:gd name="adj2" fmla="val 154363"/>
              </a:avLst>
            </a:prstGeom>
            <a:noFill/>
            <a:ln w="9360">
              <a:solidFill>
                <a:srgbClr val="31A0B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4" name="Text Box 27">
              <a:extLst>
                <a:ext uri="{FF2B5EF4-FFF2-40B4-BE49-F238E27FC236}">
                  <a16:creationId xmlns:a16="http://schemas.microsoft.com/office/drawing/2014/main" id="{A801671B-87C4-9DC7-9015-AF89EACE18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122" y="1423"/>
              <a:ext cx="869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Verflüssigung /  Bakterien</a:t>
              </a:r>
            </a:p>
          </p:txBody>
        </p:sp>
      </p:grpSp>
      <p:pic>
        <p:nvPicPr>
          <p:cNvPr id="5" name="Grafik 4" descr="Ein Bild, das Text, Screenshot, 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467A2F21-F28C-D8DC-93BC-B3F2006406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68" t="50000" r="59375" b="32237"/>
          <a:stretch/>
        </p:blipFill>
        <p:spPr>
          <a:xfrm>
            <a:off x="6226629" y="758069"/>
            <a:ext cx="957942" cy="1136971"/>
          </a:xfrm>
          <a:prstGeom prst="rect">
            <a:avLst/>
          </a:prstGeom>
        </p:spPr>
      </p:pic>
      <p:pic>
        <p:nvPicPr>
          <p:cNvPr id="8" name="Grafik 7" descr="Ein Bild, das Text, Screenshot, 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02B85ED6-5079-FF3A-C7D8-66D186D16F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82" t="52782" r="55268" b="31017"/>
          <a:stretch/>
        </p:blipFill>
        <p:spPr>
          <a:xfrm>
            <a:off x="7297722" y="833973"/>
            <a:ext cx="1164317" cy="1036969"/>
          </a:xfrm>
          <a:prstGeom prst="rect">
            <a:avLst/>
          </a:prstGeom>
        </p:spPr>
      </p:pic>
      <p:pic>
        <p:nvPicPr>
          <p:cNvPr id="10" name="Grafik 9" descr="Ein Bild, das Text, Screenshot, Software, Multimedia-Software enthält.&#10;&#10;KI-generierte Inhalte können fehlerhaft sein.">
            <a:extLst>
              <a:ext uri="{FF2B5EF4-FFF2-40B4-BE49-F238E27FC236}">
                <a16:creationId xmlns:a16="http://schemas.microsoft.com/office/drawing/2014/main" id="{2D3C83D5-8373-A27B-56A5-FA870790BE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22" t="52211" r="30804" b="30026"/>
          <a:stretch/>
        </p:blipFill>
        <p:spPr>
          <a:xfrm>
            <a:off x="8503339" y="733972"/>
            <a:ext cx="996682" cy="1136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05005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8368BD-B2B1-AA4A-9FE8-A2EE442032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472450-24F9-846D-F3CC-D586348B7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iologische Rahmenbedingungen</a:t>
            </a:r>
            <a:br>
              <a:rPr lang="de-DE" dirty="0"/>
            </a:br>
            <a:r>
              <a:rPr lang="de-DE" dirty="0"/>
              <a:t>// </a:t>
            </a:r>
            <a:r>
              <a:rPr lang="de-DE" sz="4400" dirty="0"/>
              <a:t>„</a:t>
            </a:r>
            <a:r>
              <a:rPr lang="de-DE" sz="4400" b="1" dirty="0"/>
              <a:t>hoch-runter</a:t>
            </a:r>
            <a:r>
              <a:rPr lang="de-DE" sz="4400" dirty="0"/>
              <a:t>“</a:t>
            </a:r>
            <a:br>
              <a:rPr lang="de-DE" sz="4400" dirty="0"/>
            </a:b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629FE7-DE1B-7B52-AF1C-82F47AD233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de-DE" sz="2400" dirty="0"/>
              <a:t>// schnelle </a:t>
            </a:r>
            <a:r>
              <a:rPr lang="de-DE" sz="2400" dirty="0" err="1"/>
              <a:t>Hydrolysierer</a:t>
            </a:r>
            <a:r>
              <a:rPr lang="de-DE" sz="2400" dirty="0"/>
              <a:t> und Säurebildner pro Zeiteinheit </a:t>
            </a:r>
            <a:r>
              <a:rPr lang="de-DE" sz="2400" dirty="0" err="1"/>
              <a:t>dosierte,mikrobiell</a:t>
            </a:r>
            <a:r>
              <a:rPr lang="de-DE" sz="2400" dirty="0"/>
              <a:t> rasch abbaubare organische Substanz </a:t>
            </a:r>
          </a:p>
          <a:p>
            <a:pPr marL="0" indent="0">
              <a:buNone/>
            </a:pPr>
            <a:br>
              <a:rPr lang="de-DE" sz="2400" dirty="0"/>
            </a:br>
            <a:r>
              <a:rPr lang="de-DE" sz="2400" dirty="0">
                <a:sym typeface="Wingdings" panose="05000000000000000000" pitchFamily="2" charset="2"/>
              </a:rPr>
              <a:t> ku</a:t>
            </a:r>
            <a:r>
              <a:rPr lang="de-DE" sz="2400" dirty="0"/>
              <a:t>rzfristigen Überangebot an Wasserstoff und in Folge zu einem Überangebot an flüchtigen Fettsäuren </a:t>
            </a:r>
          </a:p>
        </p:txBody>
      </p:sp>
    </p:spTree>
    <p:extLst>
      <p:ext uri="{BB962C8B-B14F-4D97-AF65-F5344CB8AC3E}">
        <p14:creationId xmlns:p14="http://schemas.microsoft.com/office/powerpoint/2010/main" val="336700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09E81A-F2D5-5B78-A446-C214B0270D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Software, Multimedia-Software, Computersymbol enthält.&#10;&#10;KI-generierte Inhalte können fehlerhaft sein.">
            <a:extLst>
              <a:ext uri="{FF2B5EF4-FFF2-40B4-BE49-F238E27FC236}">
                <a16:creationId xmlns:a16="http://schemas.microsoft.com/office/drawing/2014/main" id="{291D11CC-BC8F-A907-97D8-A07F5F6DF1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18" t="64029" r="60818" b="8122"/>
          <a:stretch/>
        </p:blipFill>
        <p:spPr>
          <a:xfrm>
            <a:off x="7262829" y="2039392"/>
            <a:ext cx="2720197" cy="2277441"/>
          </a:xfrm>
          <a:prstGeom prst="rect">
            <a:avLst/>
          </a:prstGeom>
        </p:spPr>
      </p:pic>
      <p:sp>
        <p:nvSpPr>
          <p:cNvPr id="15362" name="Foliennummernplatzhalter 1">
            <a:extLst>
              <a:ext uri="{FF2B5EF4-FFF2-40B4-BE49-F238E27FC236}">
                <a16:creationId xmlns:a16="http://schemas.microsoft.com/office/drawing/2014/main" id="{6F78656C-10C0-A2A1-877D-801A659C92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3016766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3565268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4113771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4662274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34ED273E-19A3-4880-8DD2-1F8F80CF7A56}" type="slidenum">
              <a:rPr lang="de-DE" altLang="x-none">
                <a:solidFill>
                  <a:srgbClr val="FFFFFF"/>
                </a:solidFill>
                <a:latin typeface="Arial Narrow" panose="020B0606020202030204" pitchFamily="34" charset="0"/>
                <a:cs typeface="Segoe UI" charset="0"/>
              </a:rPr>
              <a:pPr eaLnBrk="1" hangingPunct="1"/>
              <a:t>14</a:t>
            </a:fld>
            <a:endParaRPr lang="de-DE" altLang="x-none">
              <a:solidFill>
                <a:srgbClr val="FFFFFF"/>
              </a:solidFill>
              <a:latin typeface="Arial Narrow" panose="020B0606020202030204" pitchFamily="34" charset="0"/>
              <a:cs typeface="Segoe UI" charset="0"/>
            </a:endParaRPr>
          </a:p>
        </p:txBody>
      </p:sp>
      <p:sp>
        <p:nvSpPr>
          <p:cNvPr id="15363" name="Fußzeilenplatzhalter 2">
            <a:extLst>
              <a:ext uri="{FF2B5EF4-FFF2-40B4-BE49-F238E27FC236}">
                <a16:creationId xmlns:a16="http://schemas.microsoft.com/office/drawing/2014/main" id="{4BCE83D9-3F70-6B65-7287-A97496E0B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2160588" y="5532438"/>
            <a:ext cx="48228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Grundlagen der Biogaserzeugung - Katrin Kayser - www.ibbk-biogas.de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4" name="Datumsplatzhalter 3">
            <a:extLst>
              <a:ext uri="{FF2B5EF4-FFF2-40B4-BE49-F238E27FC236}">
                <a16:creationId xmlns:a16="http://schemas.microsoft.com/office/drawing/2014/main" id="{DD8C70A1-2F65-02FA-26F7-8317C204D515}"/>
              </a:ext>
            </a:extLst>
          </p:cNvPr>
          <p:cNvSpPr>
            <a:spLocks noGrp="1"/>
          </p:cNvSpPr>
          <p:nvPr>
            <p:ph type="dt" sz="quarter" idx="12"/>
          </p:nvPr>
        </p:nvSpPr>
        <p:spPr bwMode="auto">
          <a:xfrm>
            <a:off x="457200" y="5532438"/>
            <a:ext cx="21288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1. März 2023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5" name="Text Box 1">
            <a:extLst>
              <a:ext uri="{FF2B5EF4-FFF2-40B4-BE49-F238E27FC236}">
                <a16:creationId xmlns:a16="http://schemas.microsoft.com/office/drawing/2014/main" id="{888AF55B-F02D-E3FD-7E33-F3FEAED53B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9611" y="274243"/>
            <a:ext cx="8823415" cy="1136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>
              <a:lnSpc>
                <a:spcPct val="93000"/>
              </a:lnSpc>
              <a:buClrTx/>
              <a:buFontTx/>
              <a:buNone/>
            </a:pPr>
            <a:r>
              <a:rPr lang="de-DE" altLang="x-none" sz="4319" dirty="0">
                <a:solidFill>
                  <a:schemeClr val="tx1"/>
                </a:solidFill>
                <a:latin typeface="Arial Narrow" panose="020B0606020202030204" pitchFamily="34" charset="0"/>
              </a:rPr>
              <a:t>Abbauschritte</a:t>
            </a:r>
          </a:p>
        </p:txBody>
      </p:sp>
      <p:pic>
        <p:nvPicPr>
          <p:cNvPr id="15388" name="Picture 24">
            <a:extLst>
              <a:ext uri="{FF2B5EF4-FFF2-40B4-BE49-F238E27FC236}">
                <a16:creationId xmlns:a16="http://schemas.microsoft.com/office/drawing/2014/main" id="{0C82B0C7-EF91-6A90-53C1-CB86D8A78A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640"/>
          <a:stretch/>
        </p:blipFill>
        <p:spPr bwMode="auto">
          <a:xfrm>
            <a:off x="1967107" y="1521673"/>
            <a:ext cx="5330615" cy="2277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15389" name="Group 25">
            <a:extLst>
              <a:ext uri="{FF2B5EF4-FFF2-40B4-BE49-F238E27FC236}">
                <a16:creationId xmlns:a16="http://schemas.microsoft.com/office/drawing/2014/main" id="{ABE0C22D-FFC1-F039-557F-24EE42BB82E3}"/>
              </a:ext>
            </a:extLst>
          </p:cNvPr>
          <p:cNvGrpSpPr>
            <a:grpSpLocks/>
          </p:cNvGrpSpPr>
          <p:nvPr/>
        </p:nvGrpSpPr>
        <p:grpSpPr bwMode="auto">
          <a:xfrm>
            <a:off x="347535" y="1302356"/>
            <a:ext cx="518016" cy="3481462"/>
            <a:chOff x="227" y="839"/>
            <a:chExt cx="272" cy="1704"/>
          </a:xfrm>
        </p:grpSpPr>
        <p:sp>
          <p:nvSpPr>
            <p:cNvPr id="15393" name="AutoShape 26">
              <a:extLst>
                <a:ext uri="{FF2B5EF4-FFF2-40B4-BE49-F238E27FC236}">
                  <a16:creationId xmlns:a16="http://schemas.microsoft.com/office/drawing/2014/main" id="{F972BA77-716F-36BB-1542-5FC2B96E9B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" y="839"/>
              <a:ext cx="67" cy="1704"/>
            </a:xfrm>
            <a:prstGeom prst="downArrow">
              <a:avLst>
                <a:gd name="adj1" fmla="val 61194"/>
                <a:gd name="adj2" fmla="val 154363"/>
              </a:avLst>
            </a:prstGeom>
            <a:noFill/>
            <a:ln w="9360">
              <a:solidFill>
                <a:srgbClr val="31A0B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4" name="Text Box 27">
              <a:extLst>
                <a:ext uri="{FF2B5EF4-FFF2-40B4-BE49-F238E27FC236}">
                  <a16:creationId xmlns:a16="http://schemas.microsoft.com/office/drawing/2014/main" id="{E607C20C-02A5-A009-194D-5B08190FF1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-5400000">
              <a:off x="-122" y="1429"/>
              <a:ext cx="869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Verflüssigung </a:t>
              </a:r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  <a:sym typeface="Wingdings" panose="05000000000000000000" pitchFamily="2" charset="2"/>
                </a:rPr>
                <a:t> Bakterien</a:t>
              </a:r>
              <a:endParaRPr lang="de-DE" altLang="x-none" sz="2159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7170440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Foliennummernplatzhalter 2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3016766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3565268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4113771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4662274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882AA6BD-CCF3-4F1E-9673-CE9852B471F2}" type="slidenum">
              <a:rPr lang="de-DE" altLang="x-none">
                <a:solidFill>
                  <a:srgbClr val="FFFFFF"/>
                </a:solidFill>
                <a:cs typeface="Segoe UI" charset="0"/>
              </a:rPr>
              <a:pPr eaLnBrk="1" hangingPunct="1"/>
              <a:t>15</a:t>
            </a:fld>
            <a:endParaRPr lang="de-DE" altLang="x-none">
              <a:solidFill>
                <a:srgbClr val="FFFFFF"/>
              </a:solidFill>
              <a:cs typeface="Segoe UI" charset="0"/>
            </a:endParaRPr>
          </a:p>
        </p:txBody>
      </p:sp>
      <p:sp>
        <p:nvSpPr>
          <p:cNvPr id="17411" name="Fußzeilenplatzhalter 3"/>
          <p:cNvSpPr>
            <a:spLocks noGrp="1"/>
          </p:cNvSpPr>
          <p:nvPr>
            <p:ph type="ftr" sz="quarter" idx="11"/>
          </p:nvPr>
        </p:nvSpPr>
        <p:spPr bwMode="auto">
          <a:xfrm>
            <a:off x="2160588" y="5532438"/>
            <a:ext cx="48228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/>
              <a:t>Grundlagen der Biogaserzeugung - Katrin Kayser - www.ibbk-biogas.de</a:t>
            </a:r>
            <a:endParaRPr lang="de-DE" altLang="x-none">
              <a:solidFill>
                <a:srgbClr val="FFFFFF"/>
              </a:solidFill>
              <a:cs typeface="Segoe UI" charset="0"/>
            </a:endParaRPr>
          </a:p>
        </p:txBody>
      </p:sp>
      <p:sp>
        <p:nvSpPr>
          <p:cNvPr id="17412" name="Datumsplatzhalter 4"/>
          <p:cNvSpPr>
            <a:spLocks noGrp="1"/>
          </p:cNvSpPr>
          <p:nvPr>
            <p:ph type="dt" sz="quarter" idx="12"/>
          </p:nvPr>
        </p:nvSpPr>
        <p:spPr bwMode="auto">
          <a:xfrm>
            <a:off x="457200" y="5532438"/>
            <a:ext cx="21288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/>
              <a:t>1. März 2023</a:t>
            </a:r>
            <a:endParaRPr lang="de-DE" altLang="x-none">
              <a:solidFill>
                <a:srgbClr val="FFFFFF"/>
              </a:solidFill>
              <a:cs typeface="Segoe UI" charset="0"/>
            </a:endParaRPr>
          </a:p>
        </p:txBody>
      </p:sp>
      <p:sp>
        <p:nvSpPr>
          <p:cNvPr id="17413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159611" y="274243"/>
            <a:ext cx="8427285" cy="1136970"/>
          </a:xfrm>
        </p:spPr>
        <p:txBody>
          <a:bodyPr/>
          <a:lstStyle/>
          <a:p>
            <a:pPr>
              <a:tabLst>
                <a:tab pos="0" algn="l"/>
                <a:tab pos="537076" algn="l"/>
                <a:tab pos="1076057" algn="l"/>
                <a:tab pos="1615036" algn="l"/>
                <a:tab pos="2154017" algn="l"/>
                <a:tab pos="2692997" algn="l"/>
                <a:tab pos="3231977" algn="l"/>
                <a:tab pos="3770957" algn="l"/>
                <a:tab pos="4309938" algn="l"/>
                <a:tab pos="4848917" algn="l"/>
                <a:tab pos="5387898" algn="l"/>
                <a:tab pos="5926878" algn="l"/>
                <a:tab pos="6465859" algn="l"/>
                <a:tab pos="7004838" algn="l"/>
                <a:tab pos="7543819" algn="l"/>
                <a:tab pos="8082799" algn="l"/>
                <a:tab pos="8621780" algn="l"/>
                <a:tab pos="9160759" algn="l"/>
                <a:tab pos="9699740" algn="l"/>
                <a:tab pos="10238720" algn="l"/>
                <a:tab pos="10777701" algn="l"/>
              </a:tabLst>
            </a:pPr>
            <a:r>
              <a:rPr lang="de-DE" altLang="x-none"/>
              <a:t>Abbauschritte</a:t>
            </a:r>
          </a:p>
        </p:txBody>
      </p:sp>
      <p:pic>
        <p:nvPicPr>
          <p:cNvPr id="174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586" y="1468348"/>
            <a:ext cx="9846115" cy="4923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415" name="Text Box 3"/>
          <p:cNvSpPr txBox="1">
            <a:spLocks noChangeArrowheads="1"/>
          </p:cNvSpPr>
          <p:nvPr/>
        </p:nvSpPr>
        <p:spPr bwMode="auto">
          <a:xfrm>
            <a:off x="4757158" y="3542316"/>
            <a:ext cx="1382646" cy="3237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 sz="1920">
                <a:solidFill>
                  <a:srgbClr val="228B22"/>
                </a:solidFill>
              </a:rPr>
              <a:t>Biomasse</a:t>
            </a:r>
          </a:p>
        </p:txBody>
      </p:sp>
      <p:sp>
        <p:nvSpPr>
          <p:cNvPr id="17416" name="Text Box 4"/>
          <p:cNvSpPr txBox="1">
            <a:spLocks noChangeArrowheads="1"/>
          </p:cNvSpPr>
          <p:nvPr/>
        </p:nvSpPr>
        <p:spPr bwMode="auto">
          <a:xfrm>
            <a:off x="4757158" y="3542316"/>
            <a:ext cx="1382646" cy="3237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solidFill>
                  <a:srgbClr val="228B22"/>
                </a:solidFill>
              </a:rPr>
              <a:t>Biomasse</a:t>
            </a:r>
          </a:p>
        </p:txBody>
      </p:sp>
      <p:sp>
        <p:nvSpPr>
          <p:cNvPr id="17417" name="Text Box 5"/>
          <p:cNvSpPr txBox="1">
            <a:spLocks noChangeArrowheads="1"/>
          </p:cNvSpPr>
          <p:nvPr/>
        </p:nvSpPr>
        <p:spPr bwMode="auto">
          <a:xfrm>
            <a:off x="2294676" y="4707852"/>
            <a:ext cx="1382646" cy="5484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solidFill>
                  <a:srgbClr val="228B22"/>
                </a:solidFill>
              </a:rPr>
              <a:t>Zwischen-</a:t>
            </a:r>
            <a:br>
              <a:rPr lang="de-DE" altLang="x-none">
                <a:solidFill>
                  <a:srgbClr val="228B22"/>
                </a:solidFill>
              </a:rPr>
            </a:br>
            <a:r>
              <a:rPr lang="de-DE" altLang="x-none">
                <a:solidFill>
                  <a:srgbClr val="228B22"/>
                </a:solidFill>
              </a:rPr>
              <a:t>produkte</a:t>
            </a:r>
          </a:p>
        </p:txBody>
      </p:sp>
      <p:sp>
        <p:nvSpPr>
          <p:cNvPr id="17418" name="Text Box 6"/>
          <p:cNvSpPr txBox="1">
            <a:spLocks noChangeArrowheads="1"/>
          </p:cNvSpPr>
          <p:nvPr/>
        </p:nvSpPr>
        <p:spPr bwMode="auto">
          <a:xfrm>
            <a:off x="3892528" y="4837356"/>
            <a:ext cx="2245371" cy="3885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solidFill>
                  <a:srgbClr val="228B22"/>
                </a:solidFill>
              </a:rPr>
              <a:t>Fettsäureproduktion:</a:t>
            </a:r>
          </a:p>
        </p:txBody>
      </p:sp>
      <p:sp>
        <p:nvSpPr>
          <p:cNvPr id="17419" name="Text Box 7"/>
          <p:cNvSpPr txBox="1">
            <a:spLocks noChangeArrowheads="1"/>
          </p:cNvSpPr>
          <p:nvPr/>
        </p:nvSpPr>
        <p:spPr bwMode="auto">
          <a:xfrm>
            <a:off x="3892528" y="6090498"/>
            <a:ext cx="1209338" cy="3885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 sz="1680">
                <a:solidFill>
                  <a:srgbClr val="228B22"/>
                </a:solidFill>
              </a:rPr>
              <a:t>Buttersäure</a:t>
            </a:r>
          </a:p>
        </p:txBody>
      </p:sp>
      <p:sp>
        <p:nvSpPr>
          <p:cNvPr id="17420" name="Text Box 8"/>
          <p:cNvSpPr txBox="1">
            <a:spLocks noChangeArrowheads="1"/>
          </p:cNvSpPr>
          <p:nvPr/>
        </p:nvSpPr>
        <p:spPr bwMode="auto">
          <a:xfrm>
            <a:off x="6010300" y="6090499"/>
            <a:ext cx="1424544" cy="30090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 sz="1680">
                <a:solidFill>
                  <a:srgbClr val="228B22"/>
                </a:solidFill>
              </a:rPr>
              <a:t>Propionsäure</a:t>
            </a:r>
          </a:p>
        </p:txBody>
      </p:sp>
      <p:sp>
        <p:nvSpPr>
          <p:cNvPr id="17421" name="Text Box 9"/>
          <p:cNvSpPr txBox="1">
            <a:spLocks noChangeArrowheads="1"/>
          </p:cNvSpPr>
          <p:nvPr/>
        </p:nvSpPr>
        <p:spPr bwMode="auto">
          <a:xfrm>
            <a:off x="8169970" y="6090498"/>
            <a:ext cx="1209338" cy="3885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 sz="1680">
                <a:solidFill>
                  <a:srgbClr val="228B22"/>
                </a:solidFill>
              </a:rPr>
              <a:t>Essigsäure</a:t>
            </a:r>
          </a:p>
        </p:txBody>
      </p:sp>
      <p:sp>
        <p:nvSpPr>
          <p:cNvPr id="17422" name="Text Box 10"/>
          <p:cNvSpPr txBox="1">
            <a:spLocks noChangeArrowheads="1"/>
          </p:cNvSpPr>
          <p:nvPr/>
        </p:nvSpPr>
        <p:spPr bwMode="auto">
          <a:xfrm>
            <a:off x="7952860" y="4233639"/>
            <a:ext cx="1165536" cy="25710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ctr" eaLnBrk="1" hangingPunct="1"/>
            <a:r>
              <a:rPr lang="de-DE" altLang="x-none" sz="1680">
                <a:solidFill>
                  <a:srgbClr val="4682B4"/>
                </a:solidFill>
              </a:rPr>
              <a:t>Methan</a:t>
            </a:r>
          </a:p>
        </p:txBody>
      </p:sp>
      <p:sp>
        <p:nvSpPr>
          <p:cNvPr id="17423" name="Text Box 11"/>
          <p:cNvSpPr txBox="1">
            <a:spLocks noChangeArrowheads="1"/>
          </p:cNvSpPr>
          <p:nvPr/>
        </p:nvSpPr>
        <p:spPr bwMode="auto">
          <a:xfrm>
            <a:off x="9335506" y="4233640"/>
            <a:ext cx="1641654" cy="34470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algn="ctr" eaLnBrk="1" hangingPunct="1"/>
            <a:r>
              <a:rPr lang="de-DE" altLang="x-none" sz="1680">
                <a:solidFill>
                  <a:srgbClr val="4682B4"/>
                </a:solidFill>
              </a:rPr>
              <a:t>Kohlendioxid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A5D018C-9154-778D-7C1E-D57735BE8F4E}"/>
              </a:ext>
            </a:extLst>
          </p:cNvPr>
          <p:cNvSpPr/>
          <p:nvPr/>
        </p:nvSpPr>
        <p:spPr>
          <a:xfrm>
            <a:off x="8408524" y="4636290"/>
            <a:ext cx="1641654" cy="5484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14EFA93D-16DB-ADCA-D6C1-D0FC60AB86FA}"/>
              </a:ext>
            </a:extLst>
          </p:cNvPr>
          <p:cNvSpPr/>
          <p:nvPr/>
        </p:nvSpPr>
        <p:spPr>
          <a:xfrm>
            <a:off x="2007334" y="4578349"/>
            <a:ext cx="8142514" cy="22156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F150937-A1AA-7CCD-CC19-F65C41AAEE95}"/>
              </a:ext>
            </a:extLst>
          </p:cNvPr>
          <p:cNvSpPr/>
          <p:nvPr/>
        </p:nvSpPr>
        <p:spPr>
          <a:xfrm rot="16355442">
            <a:off x="10372248" y="5100904"/>
            <a:ext cx="1641654" cy="17931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15CA9-B058-0A16-6359-DF82B844B5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nummernplatzhalter 1">
            <a:extLst>
              <a:ext uri="{FF2B5EF4-FFF2-40B4-BE49-F238E27FC236}">
                <a16:creationId xmlns:a16="http://schemas.microsoft.com/office/drawing/2014/main" id="{3637402E-6EC7-D5DF-0CD0-81DA9BAA5D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3016766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3565268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4113771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4662274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34ED273E-19A3-4880-8DD2-1F8F80CF7A56}" type="slidenum">
              <a:rPr lang="de-DE" altLang="x-none">
                <a:solidFill>
                  <a:srgbClr val="FFFFFF"/>
                </a:solidFill>
                <a:latin typeface="Arial Narrow" panose="020B0606020202030204" pitchFamily="34" charset="0"/>
                <a:cs typeface="Segoe UI" charset="0"/>
              </a:rPr>
              <a:pPr eaLnBrk="1" hangingPunct="1"/>
              <a:t>16</a:t>
            </a:fld>
            <a:endParaRPr lang="de-DE" altLang="x-none">
              <a:solidFill>
                <a:srgbClr val="FFFFFF"/>
              </a:solidFill>
              <a:latin typeface="Arial Narrow" panose="020B0606020202030204" pitchFamily="34" charset="0"/>
              <a:cs typeface="Segoe UI" charset="0"/>
            </a:endParaRPr>
          </a:p>
        </p:txBody>
      </p:sp>
      <p:sp>
        <p:nvSpPr>
          <p:cNvPr id="15363" name="Fußzeilenplatzhalter 2">
            <a:extLst>
              <a:ext uri="{FF2B5EF4-FFF2-40B4-BE49-F238E27FC236}">
                <a16:creationId xmlns:a16="http://schemas.microsoft.com/office/drawing/2014/main" id="{C5B2E6B1-7096-41B0-D5BE-8C1195C3C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2160588" y="5532438"/>
            <a:ext cx="48228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Grundlagen der Biogaserzeugung - Katrin Kayser - www.ibbk-biogas.de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4" name="Datumsplatzhalter 3">
            <a:extLst>
              <a:ext uri="{FF2B5EF4-FFF2-40B4-BE49-F238E27FC236}">
                <a16:creationId xmlns:a16="http://schemas.microsoft.com/office/drawing/2014/main" id="{FE80375F-4CD1-EF3E-25F5-9F0091070AE8}"/>
              </a:ext>
            </a:extLst>
          </p:cNvPr>
          <p:cNvSpPr>
            <a:spLocks noGrp="1"/>
          </p:cNvSpPr>
          <p:nvPr>
            <p:ph type="dt" sz="quarter" idx="12"/>
          </p:nvPr>
        </p:nvSpPr>
        <p:spPr bwMode="auto">
          <a:xfrm>
            <a:off x="457200" y="5532438"/>
            <a:ext cx="21288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1. März 2023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5" name="Text Box 1">
            <a:extLst>
              <a:ext uri="{FF2B5EF4-FFF2-40B4-BE49-F238E27FC236}">
                <a16:creationId xmlns:a16="http://schemas.microsoft.com/office/drawing/2014/main" id="{DD0D0338-FC0D-9A65-D830-937285DCA6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9611" y="274243"/>
            <a:ext cx="8823415" cy="1136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>
              <a:lnSpc>
                <a:spcPct val="93000"/>
              </a:lnSpc>
              <a:buClrTx/>
              <a:buFontTx/>
              <a:buNone/>
            </a:pPr>
            <a:r>
              <a:rPr lang="de-DE" altLang="x-none" sz="4319" dirty="0">
                <a:solidFill>
                  <a:schemeClr val="tx1"/>
                </a:solidFill>
                <a:latin typeface="Arial Narrow" panose="020B0606020202030204" pitchFamily="34" charset="0"/>
              </a:rPr>
              <a:t>Abbauschritte</a:t>
            </a:r>
          </a:p>
        </p:txBody>
      </p:sp>
      <p:pic>
        <p:nvPicPr>
          <p:cNvPr id="15388" name="Picture 24">
            <a:extLst>
              <a:ext uri="{FF2B5EF4-FFF2-40B4-BE49-F238E27FC236}">
                <a16:creationId xmlns:a16="http://schemas.microsoft.com/office/drawing/2014/main" id="{74628EDF-389B-1C96-5431-ABE2721A42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107" y="1521673"/>
            <a:ext cx="5330615" cy="4808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15389" name="Group 25">
            <a:extLst>
              <a:ext uri="{FF2B5EF4-FFF2-40B4-BE49-F238E27FC236}">
                <a16:creationId xmlns:a16="http://schemas.microsoft.com/office/drawing/2014/main" id="{0AE769D5-5C03-8687-3391-ABC507D2D69E}"/>
              </a:ext>
            </a:extLst>
          </p:cNvPr>
          <p:cNvGrpSpPr>
            <a:grpSpLocks/>
          </p:cNvGrpSpPr>
          <p:nvPr/>
        </p:nvGrpSpPr>
        <p:grpSpPr bwMode="auto">
          <a:xfrm>
            <a:off x="1066293" y="1597851"/>
            <a:ext cx="493258" cy="3245219"/>
            <a:chOff x="239" y="839"/>
            <a:chExt cx="259" cy="1704"/>
          </a:xfrm>
        </p:grpSpPr>
        <p:sp>
          <p:nvSpPr>
            <p:cNvPr id="15393" name="AutoShape 26">
              <a:extLst>
                <a:ext uri="{FF2B5EF4-FFF2-40B4-BE49-F238E27FC236}">
                  <a16:creationId xmlns:a16="http://schemas.microsoft.com/office/drawing/2014/main" id="{79FEA3D2-AFD9-1515-ED65-DF13413CB3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" y="839"/>
              <a:ext cx="67" cy="1704"/>
            </a:xfrm>
            <a:prstGeom prst="downArrow">
              <a:avLst>
                <a:gd name="adj1" fmla="val 61194"/>
                <a:gd name="adj2" fmla="val 154363"/>
              </a:avLst>
            </a:prstGeom>
            <a:noFill/>
            <a:ln w="9360">
              <a:solidFill>
                <a:srgbClr val="31A0B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4" name="Text Box 27">
              <a:extLst>
                <a:ext uri="{FF2B5EF4-FFF2-40B4-BE49-F238E27FC236}">
                  <a16:creationId xmlns:a16="http://schemas.microsoft.com/office/drawing/2014/main" id="{FEC1837F-701D-D7DD-AC4A-E0D45767F4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110" y="1429"/>
              <a:ext cx="869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Verflüssigung Bakterien</a:t>
              </a:r>
            </a:p>
          </p:txBody>
        </p:sp>
      </p:grpSp>
      <p:grpSp>
        <p:nvGrpSpPr>
          <p:cNvPr id="15390" name="Group 28">
            <a:extLst>
              <a:ext uri="{FF2B5EF4-FFF2-40B4-BE49-F238E27FC236}">
                <a16:creationId xmlns:a16="http://schemas.microsoft.com/office/drawing/2014/main" id="{7F38720D-FAE3-B008-D70C-698F42949464}"/>
              </a:ext>
            </a:extLst>
          </p:cNvPr>
          <p:cNvGrpSpPr>
            <a:grpSpLocks/>
          </p:cNvGrpSpPr>
          <p:nvPr/>
        </p:nvGrpSpPr>
        <p:grpSpPr bwMode="auto">
          <a:xfrm>
            <a:off x="312122" y="4620246"/>
            <a:ext cx="617049" cy="1683552"/>
            <a:chOff x="-157" y="2426"/>
            <a:chExt cx="324" cy="884"/>
          </a:xfrm>
        </p:grpSpPr>
        <p:sp>
          <p:nvSpPr>
            <p:cNvPr id="15391" name="AutoShape 29">
              <a:extLst>
                <a:ext uri="{FF2B5EF4-FFF2-40B4-BE49-F238E27FC236}">
                  <a16:creationId xmlns:a16="http://schemas.microsoft.com/office/drawing/2014/main" id="{763CB3A4-7C2F-7F5F-0E38-94FEC7B2F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" y="2426"/>
              <a:ext cx="90" cy="884"/>
            </a:xfrm>
            <a:prstGeom prst="downArrow">
              <a:avLst>
                <a:gd name="adj1" fmla="val 52120"/>
                <a:gd name="adj2" fmla="val 112774"/>
              </a:avLst>
            </a:prstGeom>
            <a:solidFill>
              <a:srgbClr val="FFFFFF"/>
            </a:solidFill>
            <a:ln w="9360">
              <a:solidFill>
                <a:srgbClr val="C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2" name="Text Box 30">
              <a:extLst>
                <a:ext uri="{FF2B5EF4-FFF2-40B4-BE49-F238E27FC236}">
                  <a16:creationId xmlns:a16="http://schemas.microsoft.com/office/drawing/2014/main" id="{35D1A566-D4BE-E6E4-158C-A000B8642E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-434" y="2782"/>
              <a:ext cx="725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 err="1">
                  <a:solidFill>
                    <a:schemeClr val="tx1"/>
                  </a:solidFill>
                  <a:latin typeface="Arial Narrow" panose="020B0606020202030204" pitchFamily="34" charset="0"/>
                </a:rPr>
                <a:t>Gasbildugn</a:t>
              </a:r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altLang="x-none" sz="2159" dirty="0" err="1">
                  <a:solidFill>
                    <a:schemeClr val="tx1"/>
                  </a:solidFill>
                  <a:latin typeface="Arial Narrow" panose="020B0606020202030204" pitchFamily="34" charset="0"/>
                </a:rPr>
                <a:t>Archaen</a:t>
              </a:r>
              <a:endParaRPr lang="de-DE" altLang="x-none" sz="2159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097451F2-3689-F10B-0F9A-54AEEF77182B}"/>
              </a:ext>
            </a:extLst>
          </p:cNvPr>
          <p:cNvSpPr/>
          <p:nvPr/>
        </p:nvSpPr>
        <p:spPr>
          <a:xfrm>
            <a:off x="2932210" y="5336327"/>
            <a:ext cx="4147944" cy="124743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8001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829310-3770-4940-6F2F-084609660F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0CEED-9079-7455-118D-2DB0A8CE3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ahmenbedingungen</a:t>
            </a:r>
            <a:br>
              <a:rPr lang="de-DE" dirty="0"/>
            </a:br>
            <a:r>
              <a:rPr lang="de-DE" dirty="0"/>
              <a:t>// </a:t>
            </a:r>
            <a:r>
              <a:rPr lang="de-DE" sz="4400" dirty="0"/>
              <a:t>biologische</a:t>
            </a:r>
            <a:br>
              <a:rPr lang="de-DE" sz="4400" dirty="0"/>
            </a:b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3E3381-DD1B-84B4-A39B-55FC9ACD9F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// </a:t>
            </a:r>
            <a:r>
              <a:rPr lang="de-DE" sz="2400" dirty="0" err="1">
                <a:solidFill>
                  <a:schemeClr val="bg1">
                    <a:lumMod val="65000"/>
                  </a:schemeClr>
                </a:solidFill>
              </a:rPr>
              <a:t>Hydrolysierer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 + Säurebildner rasch abbaubare organische Substanz </a:t>
            </a:r>
            <a:br>
              <a:rPr lang="de-DE" sz="24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de-DE" sz="2400" dirty="0">
                <a:solidFill>
                  <a:schemeClr val="bg1">
                    <a:lumMod val="65000"/>
                  </a:schemeClr>
                </a:solidFill>
                <a:sym typeface="Wingdings" panose="05000000000000000000" pitchFamily="2" charset="2"/>
              </a:rPr>
              <a:t> ku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rzfristigen Überangebot an Wasserstoff +flüchtigen Fettsäuren. </a:t>
            </a:r>
          </a:p>
          <a:p>
            <a:pPr marL="0" indent="0">
              <a:buNone/>
            </a:pPr>
            <a:r>
              <a:rPr lang="de-DE" sz="2400" dirty="0">
                <a:solidFill>
                  <a:schemeClr val="bg1">
                    <a:lumMod val="65000"/>
                  </a:schemeClr>
                </a:solidFill>
                <a:sym typeface="Wingdings" panose="05000000000000000000" pitchFamily="2" charset="2"/>
              </a:rPr>
              <a:t>// 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Anstieg Wasserstoffkonzentration hemmend auf </a:t>
            </a:r>
            <a:r>
              <a:rPr lang="de-DE" sz="2400" dirty="0" err="1">
                <a:solidFill>
                  <a:schemeClr val="bg1">
                    <a:lumMod val="65000"/>
                  </a:schemeClr>
                </a:solidFill>
              </a:rPr>
              <a:t>syntrophen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 Stoffwechselvorgänge 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  <a:sym typeface="Wingdings" panose="05000000000000000000" pitchFamily="2" charset="2"/>
              </a:rPr>
              <a:t> 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 Methanbildung betroffen</a:t>
            </a:r>
          </a:p>
          <a:p>
            <a:pPr marL="0" indent="0">
              <a:buNone/>
            </a:pP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// langsamer Abbau + vermehrten Bildung von Fettsäuren 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  <a:sym typeface="Wingdings" panose="05000000000000000000" pitchFamily="2" charset="2"/>
              </a:rPr>
              <a:t> </a:t>
            </a:r>
            <a:r>
              <a:rPr lang="de-DE" sz="2400" dirty="0">
                <a:solidFill>
                  <a:schemeClr val="bg1">
                    <a:lumMod val="65000"/>
                  </a:schemeClr>
                </a:solidFill>
              </a:rPr>
              <a:t>Essigsäure, Propionsäure + Buttersäure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/>
              <a:t>pH-Wert sinkt 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/>
              <a:t>Versäuerung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/>
              <a:t> pH-Wert sinkt umso schneller &gt; Puffervermögen </a:t>
            </a:r>
          </a:p>
          <a:p>
            <a:pPr marL="0" indent="0">
              <a:buNone/>
            </a:pPr>
            <a:r>
              <a:rPr lang="de-DE" sz="2400" dirty="0">
                <a:sym typeface="Wingdings" panose="05000000000000000000" pitchFamily="2" charset="2"/>
              </a:rPr>
              <a:t> Methangehalt + Gasmenge sinken</a:t>
            </a:r>
            <a:endParaRPr lang="de-DE" dirty="0"/>
          </a:p>
        </p:txBody>
      </p:sp>
      <p:pic>
        <p:nvPicPr>
          <p:cNvPr id="2050" name="Picture 2" descr="Piktogramm - Telefon | Schilder-feres.de">
            <a:extLst>
              <a:ext uri="{FF2B5EF4-FFF2-40B4-BE49-F238E27FC236}">
                <a16:creationId xmlns:a16="http://schemas.microsoft.com/office/drawing/2014/main" id="{2BCF8650-BE22-0B3E-074C-8D97759AF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8114" y="4811485"/>
            <a:ext cx="1001486" cy="10014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76760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liennummernplatzhalter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3016766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3565268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4113771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4662274" indent="-274251" defTabSz="538981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38981" algn="l"/>
                <a:tab pos="1077960" algn="l"/>
                <a:tab pos="1616941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/>
            <a:fld id="{34ED273E-19A3-4880-8DD2-1F8F80CF7A56}" type="slidenum">
              <a:rPr lang="de-DE" altLang="x-none">
                <a:solidFill>
                  <a:srgbClr val="FFFFFF"/>
                </a:solidFill>
                <a:latin typeface="Arial Narrow" panose="020B0606020202030204" pitchFamily="34" charset="0"/>
                <a:cs typeface="Segoe UI" charset="0"/>
              </a:rPr>
              <a:pPr eaLnBrk="1" hangingPunct="1"/>
              <a:t>18</a:t>
            </a:fld>
            <a:endParaRPr lang="de-DE" altLang="x-none">
              <a:solidFill>
                <a:srgbClr val="FFFFFF"/>
              </a:solidFill>
              <a:latin typeface="Arial Narrow" panose="020B0606020202030204" pitchFamily="34" charset="0"/>
              <a:cs typeface="Segoe UI" charset="0"/>
            </a:endParaRPr>
          </a:p>
        </p:txBody>
      </p:sp>
      <p:sp>
        <p:nvSpPr>
          <p:cNvPr id="15363" name="Fußzeilenplatzhalter 2"/>
          <p:cNvSpPr>
            <a:spLocks noGrp="1"/>
          </p:cNvSpPr>
          <p:nvPr>
            <p:ph type="ftr" sz="quarter" idx="11"/>
          </p:nvPr>
        </p:nvSpPr>
        <p:spPr bwMode="auto">
          <a:xfrm>
            <a:off x="2160588" y="5532438"/>
            <a:ext cx="48228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Grundlagen der Biogaserzeugung - Katrin Kayser - www.ibbk-biogas.de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4" name="Datumsplatzhalter 3"/>
          <p:cNvSpPr>
            <a:spLocks noGrp="1"/>
          </p:cNvSpPr>
          <p:nvPr>
            <p:ph type="dt" sz="quarter" idx="12"/>
          </p:nvPr>
        </p:nvSpPr>
        <p:spPr bwMode="auto">
          <a:xfrm>
            <a:off x="457200" y="5532438"/>
            <a:ext cx="21288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 sz="1000" kern="1200">
                <a:solidFill>
                  <a:srgbClr val="FFFFFF"/>
                </a:solidFill>
                <a:latin typeface="Arial" charset="0"/>
                <a:ea typeface="+mn-ea"/>
                <a:cs typeface="Segoe UI" charset="0"/>
              </a:defRPr>
            </a:lvl1pPr>
            <a:lvl2pPr marL="742950" indent="-28575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2pPr>
            <a:lvl3pPr marL="1143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3pPr>
            <a:lvl4pPr marL="1600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4pPr>
            <a:lvl5pPr marL="20574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charset="0"/>
                <a:ea typeface="+mn-ea"/>
                <a:cs typeface="Arial Unicode MS" pitchFamily="32" charset="0"/>
              </a:defRPr>
            </a:lvl9pPr>
          </a:lstStyle>
          <a:p>
            <a:pPr eaLnBrk="1" hangingPunct="1"/>
            <a:r>
              <a:rPr lang="de-DE" altLang="x-none">
                <a:latin typeface="Arial Narrow" panose="020B0606020202030204" pitchFamily="34" charset="0"/>
              </a:rPr>
              <a:t>1. März 2023</a:t>
            </a:r>
            <a:endParaRPr lang="de-DE" altLang="x-none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5365" name="Text Box 1"/>
          <p:cNvSpPr txBox="1">
            <a:spLocks noChangeArrowheads="1"/>
          </p:cNvSpPr>
          <p:nvPr/>
        </p:nvSpPr>
        <p:spPr bwMode="auto">
          <a:xfrm>
            <a:off x="1159611" y="274243"/>
            <a:ext cx="8823415" cy="1136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pitchFamily="32" charset="0"/>
              </a:defRPr>
            </a:lvl9pPr>
          </a:lstStyle>
          <a:p>
            <a:pPr eaLnBrk="1" hangingPunct="1">
              <a:lnSpc>
                <a:spcPct val="93000"/>
              </a:lnSpc>
              <a:buClrTx/>
              <a:buFontTx/>
              <a:buNone/>
            </a:pPr>
            <a:r>
              <a:rPr lang="de-DE" altLang="x-none" sz="4319" dirty="0">
                <a:solidFill>
                  <a:schemeClr val="tx1"/>
                </a:solidFill>
                <a:latin typeface="Arial Narrow" panose="020B0606020202030204" pitchFamily="34" charset="0"/>
              </a:rPr>
              <a:t>Abbauschritt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173CCAF-9D41-A075-DC63-F00FA6C50D85}"/>
              </a:ext>
            </a:extLst>
          </p:cNvPr>
          <p:cNvGrpSpPr/>
          <p:nvPr/>
        </p:nvGrpSpPr>
        <p:grpSpPr>
          <a:xfrm>
            <a:off x="7491203" y="3647053"/>
            <a:ext cx="2835677" cy="3210947"/>
            <a:chOff x="7533876" y="2898605"/>
            <a:chExt cx="2835677" cy="3210947"/>
          </a:xfrm>
        </p:grpSpPr>
        <p:sp>
          <p:nvSpPr>
            <p:cNvPr id="15366" name="Text Box 2"/>
            <p:cNvSpPr txBox="1">
              <a:spLocks noChangeArrowheads="1"/>
            </p:cNvSpPr>
            <p:nvPr/>
          </p:nvSpPr>
          <p:spPr bwMode="auto">
            <a:xfrm>
              <a:off x="7554825" y="3033823"/>
              <a:ext cx="617197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FFCC00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FFCC00"/>
                  </a:solidFill>
                  <a:latin typeface="Arial Narrow" panose="020B0606020202030204" pitchFamily="34" charset="0"/>
                </a:rPr>
                <a:t>2</a:t>
              </a:r>
              <a:r>
                <a:rPr lang="de-DE" altLang="x-none" sz="2159" b="1">
                  <a:solidFill>
                    <a:srgbClr val="FFCC00"/>
                  </a:solidFill>
                  <a:latin typeface="Arial Narrow" panose="020B0606020202030204" pitchFamily="34" charset="0"/>
                </a:rPr>
                <a:t>S</a:t>
              </a:r>
            </a:p>
          </p:txBody>
        </p:sp>
        <p:sp>
          <p:nvSpPr>
            <p:cNvPr id="15367" name="Text Box 3"/>
            <p:cNvSpPr txBox="1">
              <a:spLocks noChangeArrowheads="1"/>
            </p:cNvSpPr>
            <p:nvPr/>
          </p:nvSpPr>
          <p:spPr bwMode="auto">
            <a:xfrm>
              <a:off x="8072841" y="3330921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68" name="Text Box 4"/>
            <p:cNvSpPr txBox="1">
              <a:spLocks noChangeArrowheads="1"/>
            </p:cNvSpPr>
            <p:nvPr/>
          </p:nvSpPr>
          <p:spPr bwMode="auto">
            <a:xfrm>
              <a:off x="8158543" y="2898605"/>
              <a:ext cx="630021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 dirty="0">
                  <a:solidFill>
                    <a:srgbClr val="00B050"/>
                  </a:solidFill>
                  <a:latin typeface="Arial Narrow" panose="020B0606020202030204" pitchFamily="34" charset="0"/>
                </a:rPr>
                <a:t>NH</a:t>
              </a:r>
              <a:r>
                <a:rPr lang="de-DE" altLang="x-none" sz="2159" b="1" baseline="-25000" dirty="0">
                  <a:solidFill>
                    <a:srgbClr val="00B050"/>
                  </a:solidFill>
                  <a:latin typeface="Arial Narrow" panose="020B0606020202030204" pitchFamily="34" charset="0"/>
                </a:rPr>
                <a:t>3</a:t>
              </a:r>
            </a:p>
          </p:txBody>
        </p:sp>
        <p:sp>
          <p:nvSpPr>
            <p:cNvPr id="15369" name="Text Box 5"/>
            <p:cNvSpPr txBox="1">
              <a:spLocks noChangeArrowheads="1"/>
            </p:cNvSpPr>
            <p:nvPr/>
          </p:nvSpPr>
          <p:spPr bwMode="auto">
            <a:xfrm>
              <a:off x="9626889" y="3169040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0" name="Text Box 6"/>
            <p:cNvSpPr txBox="1">
              <a:spLocks noChangeArrowheads="1"/>
            </p:cNvSpPr>
            <p:nvPr/>
          </p:nvSpPr>
          <p:spPr bwMode="auto">
            <a:xfrm>
              <a:off x="9051739" y="2906223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1" name="Text Box 7"/>
            <p:cNvSpPr txBox="1">
              <a:spLocks noChangeArrowheads="1"/>
            </p:cNvSpPr>
            <p:nvPr/>
          </p:nvSpPr>
          <p:spPr bwMode="auto">
            <a:xfrm>
              <a:off x="9234568" y="3429953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2" name="Text Box 8"/>
            <p:cNvSpPr txBox="1">
              <a:spLocks noChangeArrowheads="1"/>
            </p:cNvSpPr>
            <p:nvPr/>
          </p:nvSpPr>
          <p:spPr bwMode="auto">
            <a:xfrm>
              <a:off x="8630852" y="3169040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3" name="Text Box 9"/>
            <p:cNvSpPr txBox="1">
              <a:spLocks noChangeArrowheads="1"/>
            </p:cNvSpPr>
            <p:nvPr/>
          </p:nvSpPr>
          <p:spPr bwMode="auto">
            <a:xfrm>
              <a:off x="8764164" y="3504227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4" name="Text Box 10"/>
            <p:cNvSpPr txBox="1">
              <a:spLocks noChangeArrowheads="1"/>
            </p:cNvSpPr>
            <p:nvPr/>
          </p:nvSpPr>
          <p:spPr bwMode="auto">
            <a:xfrm>
              <a:off x="9903038" y="2910032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5" name="Text Box 11"/>
            <p:cNvSpPr txBox="1">
              <a:spLocks noChangeArrowheads="1"/>
            </p:cNvSpPr>
            <p:nvPr/>
          </p:nvSpPr>
          <p:spPr bwMode="auto">
            <a:xfrm>
              <a:off x="7533876" y="4368857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6" name="Text Box 12"/>
            <p:cNvSpPr txBox="1">
              <a:spLocks noChangeArrowheads="1"/>
            </p:cNvSpPr>
            <p:nvPr/>
          </p:nvSpPr>
          <p:spPr bwMode="auto">
            <a:xfrm>
              <a:off x="9190766" y="4368857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7" name="Text Box 13"/>
            <p:cNvSpPr txBox="1">
              <a:spLocks noChangeArrowheads="1"/>
            </p:cNvSpPr>
            <p:nvPr/>
          </p:nvSpPr>
          <p:spPr bwMode="auto">
            <a:xfrm>
              <a:off x="9407876" y="4639291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8" name="Text Box 14"/>
            <p:cNvSpPr txBox="1">
              <a:spLocks noChangeArrowheads="1"/>
            </p:cNvSpPr>
            <p:nvPr/>
          </p:nvSpPr>
          <p:spPr bwMode="auto">
            <a:xfrm>
              <a:off x="8590857" y="4627865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 dirty="0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 dirty="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79" name="Text Box 15"/>
            <p:cNvSpPr txBox="1">
              <a:spLocks noChangeArrowheads="1"/>
            </p:cNvSpPr>
            <p:nvPr/>
          </p:nvSpPr>
          <p:spPr bwMode="auto">
            <a:xfrm>
              <a:off x="8089982" y="4206977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80" name="Text Box 16"/>
            <p:cNvSpPr txBox="1">
              <a:spLocks noChangeArrowheads="1"/>
            </p:cNvSpPr>
            <p:nvPr/>
          </p:nvSpPr>
          <p:spPr bwMode="auto">
            <a:xfrm>
              <a:off x="8158543" y="4627865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81" name="Text Box 17"/>
            <p:cNvSpPr txBox="1">
              <a:spLocks noChangeArrowheads="1"/>
            </p:cNvSpPr>
            <p:nvPr/>
          </p:nvSpPr>
          <p:spPr bwMode="auto">
            <a:xfrm>
              <a:off x="8764164" y="4281251"/>
              <a:ext cx="46651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33CCFF"/>
                  </a:solidFill>
                  <a:latin typeface="Arial Narrow" panose="020B0606020202030204" pitchFamily="34" charset="0"/>
                </a:rPr>
                <a:t>H</a:t>
              </a:r>
              <a:r>
                <a:rPr lang="de-DE" altLang="x-none" sz="2159" b="1" baseline="-25000">
                  <a:solidFill>
                    <a:srgbClr val="33CCFF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82" name="Text Box 18"/>
            <p:cNvSpPr txBox="1">
              <a:spLocks noChangeArrowheads="1"/>
            </p:cNvSpPr>
            <p:nvPr/>
          </p:nvSpPr>
          <p:spPr bwMode="auto">
            <a:xfrm>
              <a:off x="8181397" y="5328710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15383" name="Text Box 19"/>
            <p:cNvSpPr txBox="1">
              <a:spLocks noChangeArrowheads="1"/>
            </p:cNvSpPr>
            <p:nvPr/>
          </p:nvSpPr>
          <p:spPr bwMode="auto">
            <a:xfrm>
              <a:off x="7922389" y="5587718"/>
              <a:ext cx="630021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FF3300"/>
                  </a:solidFill>
                  <a:latin typeface="Arial Narrow" panose="020B0606020202030204" pitchFamily="34" charset="0"/>
                </a:rPr>
                <a:t>CH</a:t>
              </a:r>
              <a:r>
                <a:rPr lang="de-DE" altLang="x-none" sz="2159" b="1" baseline="-25000">
                  <a:solidFill>
                    <a:srgbClr val="FF3300"/>
                  </a:solidFill>
                  <a:latin typeface="Arial Narrow" panose="020B0606020202030204" pitchFamily="34" charset="0"/>
                </a:rPr>
                <a:t>4</a:t>
              </a:r>
            </a:p>
          </p:txBody>
        </p:sp>
        <p:sp>
          <p:nvSpPr>
            <p:cNvPr id="15385" name="Text Box 21"/>
            <p:cNvSpPr txBox="1">
              <a:spLocks noChangeArrowheads="1"/>
            </p:cNvSpPr>
            <p:nvPr/>
          </p:nvSpPr>
          <p:spPr bwMode="auto">
            <a:xfrm>
              <a:off x="8840344" y="5319188"/>
              <a:ext cx="630021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FF3300"/>
                  </a:solidFill>
                  <a:latin typeface="Arial Narrow" panose="020B0606020202030204" pitchFamily="34" charset="0"/>
                </a:rPr>
                <a:t>CH</a:t>
              </a:r>
              <a:r>
                <a:rPr lang="de-DE" altLang="x-none" sz="2159" b="1" baseline="-25000">
                  <a:solidFill>
                    <a:srgbClr val="FF3300"/>
                  </a:solidFill>
                  <a:latin typeface="Arial Narrow" panose="020B0606020202030204" pitchFamily="34" charset="0"/>
                </a:rPr>
                <a:t>4</a:t>
              </a:r>
            </a:p>
          </p:txBody>
        </p:sp>
        <p:sp>
          <p:nvSpPr>
            <p:cNvPr id="15386" name="Text Box 22"/>
            <p:cNvSpPr txBox="1">
              <a:spLocks noChangeArrowheads="1"/>
            </p:cNvSpPr>
            <p:nvPr/>
          </p:nvSpPr>
          <p:spPr bwMode="auto">
            <a:xfrm>
              <a:off x="8611807" y="5663897"/>
              <a:ext cx="630021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FF3300"/>
                  </a:solidFill>
                  <a:latin typeface="Arial Narrow" panose="020B0606020202030204" pitchFamily="34" charset="0"/>
                </a:rPr>
                <a:t>CH</a:t>
              </a:r>
              <a:r>
                <a:rPr lang="de-DE" altLang="x-none" sz="2159" b="1" baseline="-25000">
                  <a:solidFill>
                    <a:srgbClr val="FF3300"/>
                  </a:solidFill>
                  <a:latin typeface="Arial Narrow" panose="020B0606020202030204" pitchFamily="34" charset="0"/>
                </a:rPr>
                <a:t>4</a:t>
              </a:r>
            </a:p>
          </p:txBody>
        </p:sp>
        <p:sp>
          <p:nvSpPr>
            <p:cNvPr id="15387" name="Text Box 23"/>
            <p:cNvSpPr txBox="1">
              <a:spLocks noChangeArrowheads="1"/>
            </p:cNvSpPr>
            <p:nvPr/>
          </p:nvSpPr>
          <p:spPr bwMode="auto">
            <a:xfrm>
              <a:off x="9255518" y="5578196"/>
              <a:ext cx="642845" cy="445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07970" tIns="56144" rIns="107970" bIns="56144">
              <a:spAutoFit/>
            </a:bodyPr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>
                <a:buClrTx/>
                <a:buFontTx/>
                <a:buNone/>
              </a:pPr>
              <a:r>
                <a:rPr lang="de-DE" altLang="x-none" sz="2159" b="1">
                  <a:solidFill>
                    <a:srgbClr val="0070C0"/>
                  </a:solidFill>
                  <a:latin typeface="Arial Narrow" panose="020B0606020202030204" pitchFamily="34" charset="0"/>
                </a:rPr>
                <a:t>CO</a:t>
              </a:r>
              <a:r>
                <a:rPr lang="de-DE" altLang="x-none" sz="2159" b="1" baseline="-25000">
                  <a:solidFill>
                    <a:srgbClr val="0070C0"/>
                  </a:solidFill>
                  <a:latin typeface="Arial Narrow" panose="020B0606020202030204" pitchFamily="34" charset="0"/>
                </a:rPr>
                <a:t>2</a:t>
              </a:r>
            </a:p>
          </p:txBody>
        </p:sp>
      </p:grpSp>
      <p:pic>
        <p:nvPicPr>
          <p:cNvPr id="15388" name="Picture 2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107" y="1521673"/>
            <a:ext cx="5330615" cy="4808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15389" name="Group 25"/>
          <p:cNvGrpSpPr>
            <a:grpSpLocks/>
          </p:cNvGrpSpPr>
          <p:nvPr/>
        </p:nvGrpSpPr>
        <p:grpSpPr bwMode="auto">
          <a:xfrm>
            <a:off x="1089147" y="1597851"/>
            <a:ext cx="470404" cy="3245219"/>
            <a:chOff x="251" y="839"/>
            <a:chExt cx="247" cy="1704"/>
          </a:xfrm>
        </p:grpSpPr>
        <p:sp>
          <p:nvSpPr>
            <p:cNvPr id="15393" name="AutoShape 26"/>
            <p:cNvSpPr>
              <a:spLocks noChangeArrowheads="1"/>
            </p:cNvSpPr>
            <p:nvPr/>
          </p:nvSpPr>
          <p:spPr bwMode="auto">
            <a:xfrm>
              <a:off x="431" y="839"/>
              <a:ext cx="67" cy="1704"/>
            </a:xfrm>
            <a:prstGeom prst="downArrow">
              <a:avLst>
                <a:gd name="adj1" fmla="val 61194"/>
                <a:gd name="adj2" fmla="val 154363"/>
              </a:avLst>
            </a:prstGeom>
            <a:noFill/>
            <a:ln w="9360">
              <a:solidFill>
                <a:srgbClr val="31A0B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4" name="Text Box 27"/>
            <p:cNvSpPr txBox="1">
              <a:spLocks noChangeArrowheads="1"/>
            </p:cNvSpPr>
            <p:nvPr/>
          </p:nvSpPr>
          <p:spPr bwMode="auto">
            <a:xfrm rot="16200000">
              <a:off x="-98" y="1429"/>
              <a:ext cx="869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Verflüssigung Bakterien</a:t>
              </a:r>
            </a:p>
          </p:txBody>
        </p:sp>
      </p:grpSp>
      <p:grpSp>
        <p:nvGrpSpPr>
          <p:cNvPr id="15390" name="Group 28"/>
          <p:cNvGrpSpPr>
            <a:grpSpLocks/>
          </p:cNvGrpSpPr>
          <p:nvPr/>
        </p:nvGrpSpPr>
        <p:grpSpPr bwMode="auto">
          <a:xfrm>
            <a:off x="870132" y="4620246"/>
            <a:ext cx="518016" cy="1683552"/>
            <a:chOff x="136" y="2426"/>
            <a:chExt cx="272" cy="884"/>
          </a:xfrm>
        </p:grpSpPr>
        <p:sp>
          <p:nvSpPr>
            <p:cNvPr id="15391" name="AutoShape 29"/>
            <p:cNvSpPr>
              <a:spLocks noChangeArrowheads="1"/>
            </p:cNvSpPr>
            <p:nvPr/>
          </p:nvSpPr>
          <p:spPr bwMode="auto">
            <a:xfrm>
              <a:off x="318" y="2426"/>
              <a:ext cx="90" cy="884"/>
            </a:xfrm>
            <a:prstGeom prst="downArrow">
              <a:avLst>
                <a:gd name="adj1" fmla="val 52120"/>
                <a:gd name="adj2" fmla="val 112774"/>
              </a:avLst>
            </a:prstGeom>
            <a:solidFill>
              <a:srgbClr val="FFFFFF"/>
            </a:solidFill>
            <a:ln w="9360">
              <a:solidFill>
                <a:srgbClr val="C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altLang="x-none" sz="2159">
                <a:latin typeface="Arial Narrow" panose="020B0606020202030204" pitchFamily="34" charset="0"/>
              </a:endParaRPr>
            </a:p>
          </p:txBody>
        </p:sp>
        <p:sp>
          <p:nvSpPr>
            <p:cNvPr id="15392" name="Text Box 30"/>
            <p:cNvSpPr txBox="1">
              <a:spLocks noChangeArrowheads="1"/>
            </p:cNvSpPr>
            <p:nvPr/>
          </p:nvSpPr>
          <p:spPr bwMode="auto">
            <a:xfrm rot="-5400000">
              <a:off x="-141" y="2749"/>
              <a:ext cx="725" cy="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1pPr>
              <a:lvl2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2pPr>
              <a:lvl3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3pPr>
              <a:lvl4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4pPr>
              <a:lvl5pPr eaLnBrk="0" hangingPunct="0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chemeClr val="bg1"/>
                  </a:solidFill>
                  <a:latin typeface="Arial" charset="0"/>
                  <a:cs typeface="Arial Unicode MS" pitchFamily="32" charset="0"/>
                </a:defRPr>
              </a:lvl9pPr>
            </a:lstStyle>
            <a:p>
              <a:pPr eaLnBrk="1" hangingPunct="1"/>
              <a:r>
                <a:rPr lang="de-DE" altLang="x-none" sz="2159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Gasbildung </a:t>
              </a:r>
              <a:r>
                <a:rPr lang="de-DE" altLang="x-none" sz="2159" dirty="0" err="1">
                  <a:solidFill>
                    <a:schemeClr val="tx1"/>
                  </a:solidFill>
                  <a:latin typeface="Arial Narrow" panose="020B0606020202030204" pitchFamily="34" charset="0"/>
                </a:rPr>
                <a:t>Archaen</a:t>
              </a:r>
              <a:endParaRPr lang="de-DE" altLang="x-none" sz="2159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0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0" dirty="0"/>
              <a:t>Achtung Generationszeit</a:t>
            </a:r>
            <a:br>
              <a:rPr lang="de-DE" kern="0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9643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A302B-5E58-E137-E836-264A827DC5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0AA039-EC57-C458-D3B0-F9437F4A5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tehen, Interesse, Leidenschaft</a:t>
            </a:r>
          </a:p>
        </p:txBody>
      </p:sp>
      <p:pic>
        <p:nvPicPr>
          <p:cNvPr id="4" name="Inhaltsplatzhalter 6" descr="Ein Bild, das Text, Screenshot, Computer, Software enthält.&#10;&#10;Automatisch generierte Beschreibung">
            <a:extLst>
              <a:ext uri="{FF2B5EF4-FFF2-40B4-BE49-F238E27FC236}">
                <a16:creationId xmlns:a16="http://schemas.microsoft.com/office/drawing/2014/main" id="{2D7E1178-CE34-3459-C8CF-5189370F7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85" t="23121" r="7127" b="28072"/>
          <a:stretch/>
        </p:blipFill>
        <p:spPr>
          <a:xfrm>
            <a:off x="4357531" y="1570830"/>
            <a:ext cx="5427805" cy="322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4327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21E9C9-C8AC-EBE6-019C-5792E9C8B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653216-525E-10B2-4817-32F111593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0" dirty="0"/>
              <a:t>Achtung Generationszeit</a:t>
            </a:r>
            <a:br>
              <a:rPr lang="de-DE" kern="0" dirty="0"/>
            </a:br>
            <a:endParaRPr lang="de-DE" dirty="0"/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8F03AD1E-4DE0-022C-9203-E12BD0494A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0810" y="5793351"/>
            <a:ext cx="17443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l"/>
            <a:r>
              <a:rPr lang="de-DE" sz="1400" dirty="0">
                <a:latin typeface="+mn-lt"/>
              </a:rPr>
              <a:t>Nach Weiland 2006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A715CF9-E2DC-548C-B9DF-5C6873247BFF}"/>
              </a:ext>
            </a:extLst>
          </p:cNvPr>
          <p:cNvGrpSpPr/>
          <p:nvPr/>
        </p:nvGrpSpPr>
        <p:grpSpPr>
          <a:xfrm>
            <a:off x="620485" y="1152297"/>
            <a:ext cx="9585793" cy="4632557"/>
            <a:chOff x="-903516" y="1800367"/>
            <a:chExt cx="9585793" cy="4632557"/>
          </a:xfrm>
        </p:grpSpPr>
        <p:pic>
          <p:nvPicPr>
            <p:cNvPr id="9" name="Picture 5">
              <a:extLst>
                <a:ext uri="{FF2B5EF4-FFF2-40B4-BE49-F238E27FC236}">
                  <a16:creationId xmlns:a16="http://schemas.microsoft.com/office/drawing/2014/main" id="{DCD52466-A8F2-6A12-6F6E-D5D6804A6D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573102" y="-676251"/>
              <a:ext cx="4632557" cy="95857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483D7153-E9D4-430E-963B-C358C02242F7}"/>
                </a:ext>
              </a:extLst>
            </p:cNvPr>
            <p:cNvSpPr txBox="1"/>
            <p:nvPr/>
          </p:nvSpPr>
          <p:spPr>
            <a:xfrm>
              <a:off x="4168537" y="3041398"/>
              <a:ext cx="250709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>
                  <a:solidFill>
                    <a:srgbClr val="006600"/>
                  </a:solidFill>
                </a:rPr>
                <a:t>Hydrolytische Bakterien  </a:t>
              </a:r>
              <a:endParaRPr lang="en-GB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3A202C23-EA48-B35E-1EC3-C1E48C97442B}"/>
                </a:ext>
              </a:extLst>
            </p:cNvPr>
            <p:cNvSpPr txBox="1"/>
            <p:nvPr/>
          </p:nvSpPr>
          <p:spPr>
            <a:xfrm>
              <a:off x="4225892" y="3907793"/>
              <a:ext cx="239238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err="1">
                  <a:solidFill>
                    <a:srgbClr val="006600"/>
                  </a:solidFill>
                </a:rPr>
                <a:t>Versäuernde</a:t>
              </a:r>
              <a:r>
                <a:rPr lang="de-DE" sz="1600" b="1" dirty="0">
                  <a:solidFill>
                    <a:srgbClr val="006600"/>
                  </a:solidFill>
                </a:rPr>
                <a:t> Bakterien  </a:t>
              </a:r>
              <a:endParaRPr lang="en-GB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4905ACA2-A2A5-4060-514A-6C70A39D8598}"/>
                </a:ext>
              </a:extLst>
            </p:cNvPr>
            <p:cNvSpPr txBox="1"/>
            <p:nvPr/>
          </p:nvSpPr>
          <p:spPr>
            <a:xfrm>
              <a:off x="4225892" y="4604911"/>
              <a:ext cx="21984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err="1">
                  <a:solidFill>
                    <a:srgbClr val="006600"/>
                  </a:solidFill>
                </a:rPr>
                <a:t>Acetogene</a:t>
              </a:r>
              <a:r>
                <a:rPr lang="de-DE" sz="1600" b="1" dirty="0">
                  <a:solidFill>
                    <a:srgbClr val="006600"/>
                  </a:solidFill>
                </a:rPr>
                <a:t> Bakterien  </a:t>
              </a:r>
              <a:endParaRPr lang="en-GB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0419D2E-E3D0-A506-AC7C-6D44647A84A3}"/>
                </a:ext>
              </a:extLst>
            </p:cNvPr>
            <p:cNvSpPr txBox="1"/>
            <p:nvPr/>
          </p:nvSpPr>
          <p:spPr>
            <a:xfrm>
              <a:off x="4229483" y="5518918"/>
              <a:ext cx="238879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err="1">
                  <a:solidFill>
                    <a:srgbClr val="006600"/>
                  </a:solidFill>
                </a:rPr>
                <a:t>Methanogene</a:t>
              </a:r>
              <a:r>
                <a:rPr lang="de-DE" sz="1600" b="1" dirty="0">
                  <a:solidFill>
                    <a:srgbClr val="006600"/>
                  </a:solidFill>
                </a:rPr>
                <a:t> </a:t>
              </a:r>
              <a:r>
                <a:rPr lang="de-DE" sz="1600" b="1" dirty="0" err="1">
                  <a:solidFill>
                    <a:srgbClr val="006600"/>
                  </a:solidFill>
                </a:rPr>
                <a:t>Archaeen</a:t>
              </a:r>
              <a:endParaRPr lang="en-GB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6836EF2F-4E01-B8FE-7482-E8986FC21334}"/>
                </a:ext>
              </a:extLst>
            </p:cNvPr>
            <p:cNvSpPr txBox="1"/>
            <p:nvPr/>
          </p:nvSpPr>
          <p:spPr>
            <a:xfrm>
              <a:off x="8014312" y="5162711"/>
              <a:ext cx="48282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00" dirty="0">
                  <a:latin typeface="Arial Rounded MT Bold" pitchFamily="34" charset="0"/>
                </a:rPr>
                <a:t>240</a:t>
              </a:r>
              <a:endParaRPr lang="en-GB" sz="1300" dirty="0">
                <a:latin typeface="Arial Rounded MT Bold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45287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B8F4B-6092-5C63-7D21-E2CB625AD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75DCC7-EDEF-A92F-0D07-4B18C33FD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schub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719768-648D-6A91-71E1-B788ACE289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Neue Ansätze</a:t>
            </a:r>
          </a:p>
        </p:txBody>
      </p:sp>
      <p:pic>
        <p:nvPicPr>
          <p:cNvPr id="3074" name="Picture 2" descr="100+] 4k Schwarzes Loch-Wallpaper KOSTENLOS | Wallpapers.com">
            <a:extLst>
              <a:ext uri="{FF2B5EF4-FFF2-40B4-BE49-F238E27FC236}">
                <a16:creationId xmlns:a16="http://schemas.microsoft.com/office/drawing/2014/main" id="{0C846AA8-5CA8-3C37-CF61-B5FBAD85F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146" y="809719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8192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B5608D-84AA-59D5-F988-1FB81B1DA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/>
              <a:t>Bestimmungstiefe: Nomenklatur in der Biologie </a:t>
            </a: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B6981749-FA6F-3E9B-A474-3C3848BBC5E8}"/>
              </a:ext>
            </a:extLst>
          </p:cNvPr>
          <p:cNvSpPr/>
          <p:nvPr/>
        </p:nvSpPr>
        <p:spPr>
          <a:xfrm rot="10800000">
            <a:off x="2061871" y="2750060"/>
            <a:ext cx="1096710" cy="3038632"/>
          </a:xfrm>
          <a:prstGeom prst="triangle">
            <a:avLst/>
          </a:prstGeom>
          <a:gradFill flip="none" rotWithShape="1">
            <a:gsLst>
              <a:gs pos="0">
                <a:schemeClr val="bg1">
                  <a:lumMod val="75000"/>
                  <a:alpha val="20000"/>
                </a:schemeClr>
              </a:gs>
              <a:gs pos="91000">
                <a:schemeClr val="bg2">
                  <a:lumMod val="10000"/>
                  <a:alpha val="9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46E8225-2EB1-28CA-684D-7B3C948BD0B2}"/>
              </a:ext>
            </a:extLst>
          </p:cNvPr>
          <p:cNvSpPr txBox="1"/>
          <p:nvPr/>
        </p:nvSpPr>
        <p:spPr>
          <a:xfrm>
            <a:off x="3403494" y="2094655"/>
            <a:ext cx="2124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omäne (</a:t>
            </a:r>
            <a:r>
              <a:rPr lang="de-DE" dirty="0" err="1"/>
              <a:t>kingdom</a:t>
            </a:r>
            <a:r>
              <a:rPr lang="de-DE" dirty="0"/>
              <a:t>)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C01134C-CAA4-62A1-E13B-3242EFC52D93}"/>
              </a:ext>
            </a:extLst>
          </p:cNvPr>
          <p:cNvSpPr txBox="1"/>
          <p:nvPr/>
        </p:nvSpPr>
        <p:spPr>
          <a:xfrm>
            <a:off x="3403495" y="2718045"/>
            <a:ext cx="2100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bteilung (</a:t>
            </a:r>
            <a:r>
              <a:rPr lang="de-DE" dirty="0" err="1"/>
              <a:t>phylum</a:t>
            </a:r>
            <a:r>
              <a:rPr lang="de-DE" dirty="0"/>
              <a:t>)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CD848DA-75FC-7699-BAD8-06080F25DB16}"/>
              </a:ext>
            </a:extLst>
          </p:cNvPr>
          <p:cNvSpPr txBox="1"/>
          <p:nvPr/>
        </p:nvSpPr>
        <p:spPr>
          <a:xfrm>
            <a:off x="3403495" y="3341435"/>
            <a:ext cx="1601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Klasse (</a:t>
            </a:r>
            <a:r>
              <a:rPr lang="de-DE" dirty="0" err="1"/>
              <a:t>class</a:t>
            </a:r>
            <a:r>
              <a:rPr lang="de-DE" dirty="0"/>
              <a:t>)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27F0CC5-3BD6-1E85-D580-BF87F9D3AC3C}"/>
              </a:ext>
            </a:extLst>
          </p:cNvPr>
          <p:cNvSpPr txBox="1"/>
          <p:nvPr/>
        </p:nvSpPr>
        <p:spPr>
          <a:xfrm>
            <a:off x="3403495" y="3964825"/>
            <a:ext cx="18070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Ordnung (</a:t>
            </a:r>
            <a:r>
              <a:rPr lang="de-DE" dirty="0" err="1"/>
              <a:t>order</a:t>
            </a:r>
            <a:r>
              <a:rPr lang="de-DE" dirty="0"/>
              <a:t>) 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8444480-EA08-2C47-8F0D-DE270A15E76C}"/>
              </a:ext>
            </a:extLst>
          </p:cNvPr>
          <p:cNvSpPr txBox="1"/>
          <p:nvPr/>
        </p:nvSpPr>
        <p:spPr>
          <a:xfrm>
            <a:off x="3403494" y="4588215"/>
            <a:ext cx="1745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amilie (</a:t>
            </a:r>
            <a:r>
              <a:rPr lang="de-DE" dirty="0" err="1"/>
              <a:t>family</a:t>
            </a:r>
            <a:r>
              <a:rPr lang="de-DE" dirty="0"/>
              <a:t>)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F32F79C-1097-112D-A0A7-67E080363705}"/>
              </a:ext>
            </a:extLst>
          </p:cNvPr>
          <p:cNvSpPr txBox="1"/>
          <p:nvPr/>
        </p:nvSpPr>
        <p:spPr>
          <a:xfrm>
            <a:off x="3403495" y="5211605"/>
            <a:ext cx="18166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Gattung (</a:t>
            </a:r>
            <a:r>
              <a:rPr lang="de-DE" dirty="0" err="1"/>
              <a:t>genus</a:t>
            </a:r>
            <a:r>
              <a:rPr lang="de-DE" dirty="0"/>
              <a:t>)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94DEB62-32EF-F5E0-ACEE-A839E2D24018}"/>
              </a:ext>
            </a:extLst>
          </p:cNvPr>
          <p:cNvSpPr txBox="1"/>
          <p:nvPr/>
        </p:nvSpPr>
        <p:spPr>
          <a:xfrm>
            <a:off x="3403494" y="5834993"/>
            <a:ext cx="1475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rt (</a:t>
            </a:r>
            <a:r>
              <a:rPr lang="de-DE" dirty="0" err="1"/>
              <a:t>species</a:t>
            </a:r>
            <a:r>
              <a:rPr lang="de-DE" dirty="0"/>
              <a:t>)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679A86A-6BB7-BC26-2801-AF23EAD7F6E1}"/>
              </a:ext>
            </a:extLst>
          </p:cNvPr>
          <p:cNvSpPr txBox="1"/>
          <p:nvPr/>
        </p:nvSpPr>
        <p:spPr>
          <a:xfrm>
            <a:off x="5571367" y="2094655"/>
            <a:ext cx="1011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rchae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955DBBB-3F1F-07B4-E435-81739D546F49}"/>
              </a:ext>
            </a:extLst>
          </p:cNvPr>
          <p:cNvSpPr txBox="1"/>
          <p:nvPr/>
        </p:nvSpPr>
        <p:spPr>
          <a:xfrm>
            <a:off x="5571368" y="2722712"/>
            <a:ext cx="1687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uryarchaeota</a:t>
            </a:r>
            <a:r>
              <a:rPr lang="de-DE" dirty="0"/>
              <a:t>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8149DE2-6574-1984-A7CD-2E23D2C91498}"/>
              </a:ext>
            </a:extLst>
          </p:cNvPr>
          <p:cNvSpPr txBox="1"/>
          <p:nvPr/>
        </p:nvSpPr>
        <p:spPr>
          <a:xfrm>
            <a:off x="5571367" y="3341435"/>
            <a:ext cx="20890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Methanomicrobia</a:t>
            </a:r>
            <a:r>
              <a:rPr lang="de-DE" dirty="0"/>
              <a:t>  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49C6621-B13B-F5A2-C76E-213118C28B87}"/>
              </a:ext>
            </a:extLst>
          </p:cNvPr>
          <p:cNvSpPr txBox="1"/>
          <p:nvPr/>
        </p:nvSpPr>
        <p:spPr>
          <a:xfrm>
            <a:off x="5571367" y="3960158"/>
            <a:ext cx="2236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Methanosarcinales</a:t>
            </a:r>
            <a:r>
              <a:rPr lang="de-DE" dirty="0"/>
              <a:t>  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60DC98F-9BC8-9F5C-9960-9ABC37898AB2}"/>
              </a:ext>
            </a:extLst>
          </p:cNvPr>
          <p:cNvSpPr txBox="1"/>
          <p:nvPr/>
        </p:nvSpPr>
        <p:spPr>
          <a:xfrm>
            <a:off x="5571368" y="4588215"/>
            <a:ext cx="2432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Methanosarcinaceae</a:t>
            </a:r>
            <a:r>
              <a:rPr lang="de-DE" dirty="0"/>
              <a:t>  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AA051B2-3A19-8300-7BC6-B9F40A30748F}"/>
              </a:ext>
            </a:extLst>
          </p:cNvPr>
          <p:cNvSpPr txBox="1"/>
          <p:nvPr/>
        </p:nvSpPr>
        <p:spPr>
          <a:xfrm>
            <a:off x="5571368" y="5211605"/>
            <a:ext cx="1985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/>
              <a:t>Methanosarcina</a:t>
            </a:r>
            <a:r>
              <a:rPr lang="de-DE" i="1" dirty="0"/>
              <a:t>    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7BF523C-76C5-344D-E363-C49CC5E9F472}"/>
              </a:ext>
            </a:extLst>
          </p:cNvPr>
          <p:cNvSpPr txBox="1"/>
          <p:nvPr/>
        </p:nvSpPr>
        <p:spPr>
          <a:xfrm>
            <a:off x="5561622" y="5834993"/>
            <a:ext cx="2914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 err="1"/>
              <a:t>Methanosarcina</a:t>
            </a:r>
            <a:r>
              <a:rPr lang="de-DE" b="1" i="1" dirty="0"/>
              <a:t> </a:t>
            </a:r>
            <a:r>
              <a:rPr lang="de-DE" b="1" i="1" dirty="0" err="1"/>
              <a:t>barkeri</a:t>
            </a:r>
            <a:r>
              <a:rPr lang="de-DE" b="1" i="1" dirty="0"/>
              <a:t>     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D4D5D39-94E5-23F9-C7A2-E017F30C6E2B}"/>
              </a:ext>
            </a:extLst>
          </p:cNvPr>
          <p:cNvSpPr txBox="1"/>
          <p:nvPr/>
        </p:nvSpPr>
        <p:spPr>
          <a:xfrm>
            <a:off x="8227089" y="2094657"/>
            <a:ext cx="1723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imalia (Tiere)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F12D05-763F-058A-1587-DB0931B883EF}"/>
              </a:ext>
            </a:extLst>
          </p:cNvPr>
          <p:cNvSpPr txBox="1"/>
          <p:nvPr/>
        </p:nvSpPr>
        <p:spPr>
          <a:xfrm>
            <a:off x="8227089" y="2718047"/>
            <a:ext cx="116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ordata 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EC75C5B9-5813-C620-C08D-C8E565D0E156}"/>
              </a:ext>
            </a:extLst>
          </p:cNvPr>
          <p:cNvSpPr txBox="1"/>
          <p:nvPr/>
        </p:nvSpPr>
        <p:spPr>
          <a:xfrm>
            <a:off x="8227088" y="3341435"/>
            <a:ext cx="25811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mmalia (Säugetiere)  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5156F713-1847-3299-8BA3-16C84D5B2620}"/>
              </a:ext>
            </a:extLst>
          </p:cNvPr>
          <p:cNvSpPr txBox="1"/>
          <p:nvPr/>
        </p:nvSpPr>
        <p:spPr>
          <a:xfrm>
            <a:off x="8227087" y="3969490"/>
            <a:ext cx="1120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mates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1459063-B103-C9D7-5740-BCBDF0DB669A}"/>
              </a:ext>
            </a:extLst>
          </p:cNvPr>
          <p:cNvSpPr txBox="1"/>
          <p:nvPr/>
        </p:nvSpPr>
        <p:spPr>
          <a:xfrm>
            <a:off x="8227087" y="4588213"/>
            <a:ext cx="13292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minidae 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67EE2975-7982-EE67-2347-473B0CFAE725}"/>
              </a:ext>
            </a:extLst>
          </p:cNvPr>
          <p:cNvSpPr txBox="1"/>
          <p:nvPr/>
        </p:nvSpPr>
        <p:spPr>
          <a:xfrm>
            <a:off x="8227088" y="5216270"/>
            <a:ext cx="8915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mo  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BF2E52C-C515-5BEA-0B02-4816ADA2B612}"/>
              </a:ext>
            </a:extLst>
          </p:cNvPr>
          <p:cNvSpPr txBox="1"/>
          <p:nvPr/>
        </p:nvSpPr>
        <p:spPr>
          <a:xfrm>
            <a:off x="8230062" y="5830328"/>
            <a:ext cx="1835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mo sapiens   </a:t>
            </a:r>
          </a:p>
        </p:txBody>
      </p:sp>
      <p:pic>
        <p:nvPicPr>
          <p:cNvPr id="39" name="Grafik 38" descr="Ein Bild, das Screenshot, Armaturenbrett enthält.&#10;&#10;KI-generierte Inhalte können fehlerhaft sein.">
            <a:extLst>
              <a:ext uri="{FF2B5EF4-FFF2-40B4-BE49-F238E27FC236}">
                <a16:creationId xmlns:a16="http://schemas.microsoft.com/office/drawing/2014/main" id="{9F4C6547-2E3A-DF20-B45B-B1A0E5A122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95" t="25069" r="74357" b="70444"/>
          <a:stretch/>
        </p:blipFill>
        <p:spPr>
          <a:xfrm rot="1644488">
            <a:off x="1636628" y="5827652"/>
            <a:ext cx="1616538" cy="310584"/>
          </a:xfrm>
          <a:prstGeom prst="rect">
            <a:avLst/>
          </a:prstGeom>
        </p:spPr>
      </p:pic>
      <p:pic>
        <p:nvPicPr>
          <p:cNvPr id="41" name="Grafik 40" descr="Ein Bild, das Vogel, Pilz enthält.&#10;&#10;KI-generierte Inhalte können fehlerhaft sein.">
            <a:extLst>
              <a:ext uri="{FF2B5EF4-FFF2-40B4-BE49-F238E27FC236}">
                <a16:creationId xmlns:a16="http://schemas.microsoft.com/office/drawing/2014/main" id="{8E55CEDD-0795-C15C-1065-C0B7E96BBD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6" t="13134" r="51326" b="34305"/>
          <a:stretch/>
        </p:blipFill>
        <p:spPr>
          <a:xfrm>
            <a:off x="1879012" y="1528419"/>
            <a:ext cx="1524483" cy="127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6047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E9362D-717C-10EC-12B6-BEEFB0F92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schub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812267-6A4C-C018-4AED-F788D578AD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Neue Ansätz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45DB8C9-2B6B-BC23-3416-F5C170CEF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0901" y="103242"/>
            <a:ext cx="8279585" cy="825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3714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CCA26C-22EB-4EE7-5AB2-279B893FEF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2C88C1-7A65-29DB-0FDE-1FC2E3987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400" b="0" i="0" u="none" strike="noStrike" baseline="0" dirty="0"/>
              <a:t>Generell:</a:t>
            </a:r>
            <a:br>
              <a:rPr lang="de-DE" sz="4400" b="0" i="0" u="none" strike="noStrike" baseline="0" dirty="0"/>
            </a:br>
            <a:r>
              <a:rPr lang="de-DE" sz="4400" b="0" i="0" u="none" strike="noStrike" baseline="0" dirty="0"/>
              <a:t>flexible Biogasbildung ist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2757475-7AE1-C62B-04B1-F106DC7ADB8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92657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7EACD-E917-3E0B-C240-848DB4599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5AD572-75D1-5265-1502-A88612C7F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400" b="0" i="0" u="none" strike="noStrike" baseline="0" dirty="0"/>
              <a:t>flexible Biogasbildun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21E2E08-D69C-BF14-CB11-7ED51087E0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9486" y="1934482"/>
            <a:ext cx="10515600" cy="4351338"/>
          </a:xfrm>
        </p:spPr>
        <p:txBody>
          <a:bodyPr>
            <a:noAutofit/>
          </a:bodyPr>
          <a:lstStyle/>
          <a:p>
            <a:pPr marL="0" indent="0" algn="l">
              <a:buNone/>
            </a:pPr>
            <a:r>
              <a:rPr lang="de-DE" sz="2400" b="0" i="0" u="none" strike="noStrike" baseline="0" dirty="0"/>
              <a:t>// umso leichter umzusetzen je schneller organische Raumbelastung gesteigert // wieder reduziert wird</a:t>
            </a:r>
            <a:br>
              <a:rPr lang="de-DE" sz="2400" b="0" i="0" u="none" strike="noStrike" baseline="0" dirty="0"/>
            </a:br>
            <a:r>
              <a:rPr lang="de-DE" sz="2400" b="0" i="0" u="none" strike="noStrike" baseline="0" dirty="0">
                <a:sym typeface="Wingdings" panose="05000000000000000000" pitchFamily="2" charset="2"/>
              </a:rPr>
              <a:t> ohne</a:t>
            </a:r>
            <a:r>
              <a:rPr lang="de-DE" sz="2400" b="0" i="0" u="none" strike="noStrike" dirty="0">
                <a:sym typeface="Wingdings" panose="05000000000000000000" pitchFamily="2" charset="2"/>
              </a:rPr>
              <a:t> P</a:t>
            </a:r>
            <a:r>
              <a:rPr lang="de-DE" sz="2400" b="0" i="0" u="none" strike="noStrike" baseline="0" dirty="0"/>
              <a:t>rozessstörung [top</a:t>
            </a:r>
            <a:r>
              <a:rPr lang="de-DE" sz="2400" b="0" i="0" u="none" strike="noStrike" dirty="0"/>
              <a:t> versorgter Fermenter]</a:t>
            </a:r>
            <a:endParaRPr lang="de-DE" sz="2400" b="0" i="0" u="none" strike="noStrike" baseline="0" dirty="0"/>
          </a:p>
          <a:p>
            <a:pPr marL="0" indent="0" algn="l">
              <a:buNone/>
            </a:pPr>
            <a:endParaRPr lang="de-DE" sz="2400" dirty="0"/>
          </a:p>
        </p:txBody>
      </p:sp>
      <p:pic>
        <p:nvPicPr>
          <p:cNvPr id="6" name="Grafik 5" descr="Ein Bild, das Fass, Lich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B9A8BE84-5CDF-9CE0-C92A-8F53BC8053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887" y="2089988"/>
            <a:ext cx="5129281" cy="5129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019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6D20BD-683E-F3DA-3118-EAC29486EE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D59134-7BC7-C0A1-C7FD-9024C706D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400" b="0" i="0" u="none" strike="noStrike" baseline="0" dirty="0"/>
              <a:t>flexible Biogasbildun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947C7C-12CA-7D11-2729-D932F94382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9486" y="1934482"/>
            <a:ext cx="10515600" cy="4351338"/>
          </a:xfrm>
        </p:spPr>
        <p:txBody>
          <a:bodyPr>
            <a:noAutofit/>
          </a:bodyPr>
          <a:lstStyle/>
          <a:p>
            <a:pPr marL="0" indent="0" algn="l">
              <a:buNone/>
            </a:pPr>
            <a:r>
              <a:rPr lang="de-DE" sz="2400" b="0" i="0" u="none" strike="noStrike" baseline="0" dirty="0"/>
              <a:t>// umso leichter umzusetzen je schneller organische Raumbelastung gesteigert // wieder reduziert wird</a:t>
            </a:r>
            <a:br>
              <a:rPr lang="de-DE" sz="2400" b="0" i="0" u="none" strike="noStrike" baseline="0" dirty="0"/>
            </a:br>
            <a:r>
              <a:rPr lang="de-DE" sz="2400" b="0" i="0" u="none" strike="noStrike" baseline="0" dirty="0">
                <a:sym typeface="Wingdings" panose="05000000000000000000" pitchFamily="2" charset="2"/>
              </a:rPr>
              <a:t> ohne</a:t>
            </a:r>
            <a:r>
              <a:rPr lang="de-DE" sz="2400" b="0" i="0" u="none" strike="noStrike" dirty="0">
                <a:sym typeface="Wingdings" panose="05000000000000000000" pitchFamily="2" charset="2"/>
              </a:rPr>
              <a:t> P</a:t>
            </a:r>
            <a:r>
              <a:rPr lang="de-DE" sz="2400" b="0" i="0" u="none" strike="noStrike" baseline="0" dirty="0"/>
              <a:t>rozessstörung [top</a:t>
            </a:r>
            <a:r>
              <a:rPr lang="de-DE" sz="2400" b="0" i="0" u="none" strike="noStrike" dirty="0"/>
              <a:t> versorgter Fermenter]</a:t>
            </a:r>
            <a:endParaRPr lang="de-DE" sz="2400" b="0" i="0" u="none" strike="noStrike" baseline="0" dirty="0"/>
          </a:p>
          <a:p>
            <a:pPr marL="0" indent="0" algn="l">
              <a:buNone/>
            </a:pPr>
            <a:r>
              <a:rPr lang="de-DE" sz="2400" dirty="0"/>
              <a:t>// </a:t>
            </a:r>
            <a:r>
              <a:rPr lang="de-DE" sz="2400" b="0" i="0" u="none" strike="noStrike" baseline="0" dirty="0"/>
              <a:t>Einsatz leicht abbaubarer;</a:t>
            </a:r>
            <a:r>
              <a:rPr lang="de-DE" sz="2400" b="0" i="0" u="none" strike="noStrike" dirty="0"/>
              <a:t> oder</a:t>
            </a:r>
            <a:r>
              <a:rPr lang="de-DE" sz="2400" b="0" i="0" u="none" strike="noStrike" baseline="0" dirty="0"/>
              <a:t> hydrolysierter Substrate</a:t>
            </a:r>
            <a:endParaRPr lang="de-DE" sz="2400" dirty="0"/>
          </a:p>
          <a:p>
            <a:pPr marL="0" indent="0" algn="l">
              <a:buNone/>
            </a:pPr>
            <a:r>
              <a:rPr lang="de-DE" sz="2400" b="0" i="0" u="none" strike="noStrike" baseline="0" dirty="0"/>
              <a:t>//</a:t>
            </a:r>
            <a:r>
              <a:rPr lang="de-DE" sz="2400" b="0" i="0" u="none" strike="noStrike" dirty="0"/>
              <a:t> </a:t>
            </a:r>
            <a:r>
              <a:rPr lang="de-DE" sz="2400" b="0" i="0" u="none" strike="noStrike" baseline="0" dirty="0"/>
              <a:t>Konzentration an </a:t>
            </a:r>
            <a:r>
              <a:rPr lang="de-DE" sz="2400" b="0" i="0" u="none" strike="noStrike" baseline="0" dirty="0" err="1"/>
              <a:t>methanogenen</a:t>
            </a:r>
            <a:r>
              <a:rPr lang="de-DE" sz="2400" b="0" i="0" u="none" strike="noStrike" baseline="0" dirty="0"/>
              <a:t> Archaeen </a:t>
            </a:r>
            <a:r>
              <a:rPr lang="de-DE" sz="2400" b="0" i="0" u="none" strike="noStrike" baseline="0" dirty="0">
                <a:sym typeface="Wingdings" panose="05000000000000000000" pitchFamily="2" charset="2"/>
              </a:rPr>
              <a:t> </a:t>
            </a:r>
            <a:r>
              <a:rPr lang="de-DE" sz="2400" b="0" i="0" u="none" strike="noStrike" baseline="0" dirty="0"/>
              <a:t>Stabilität gegenüber Prozessschwankungen </a:t>
            </a:r>
            <a:br>
              <a:rPr lang="de-DE" sz="2400" dirty="0"/>
            </a:br>
            <a:r>
              <a:rPr lang="de-DE" sz="2400" dirty="0"/>
              <a:t>	</a:t>
            </a:r>
            <a:r>
              <a:rPr lang="de-DE" sz="2400" b="0" i="0" u="none" strike="noStrike" baseline="0" dirty="0"/>
              <a:t> </a:t>
            </a:r>
          </a:p>
          <a:p>
            <a:pPr marL="0" indent="0" algn="l">
              <a:buNone/>
            </a:pPr>
            <a:r>
              <a:rPr lang="de-DE" sz="2400" dirty="0"/>
              <a:t>//       </a:t>
            </a:r>
            <a:r>
              <a:rPr lang="de-DE" sz="2400" b="0" i="0" u="none" strike="noStrike" baseline="0" dirty="0"/>
              <a:t>Methanbildner im Fermenter, </a:t>
            </a:r>
          </a:p>
          <a:p>
            <a:pPr marL="0" indent="0" algn="l">
              <a:buNone/>
            </a:pPr>
            <a:r>
              <a:rPr lang="de-DE" sz="2400" dirty="0">
                <a:sym typeface="Wingdings" panose="05000000000000000000" pitchFamily="2" charset="2"/>
              </a:rPr>
              <a:t></a:t>
            </a:r>
            <a:r>
              <a:rPr lang="de-DE" sz="2400" b="0" i="0" u="none" strike="noStrike" baseline="0" dirty="0"/>
              <a:t> zuverlässiger beschickungsbedingte, kurzfristige Schübe an Wasserstoff bzw. flüchtigen Fettsäuren reagieren</a:t>
            </a:r>
            <a:r>
              <a:rPr lang="de-DE" sz="2400" b="0" i="0" u="none" strike="noStrike" dirty="0"/>
              <a:t> </a:t>
            </a:r>
            <a:r>
              <a:rPr lang="de-DE" sz="2400" b="0" i="0" u="none" strike="noStrike" dirty="0">
                <a:sym typeface="Wingdings" panose="05000000000000000000" pitchFamily="2" charset="2"/>
              </a:rPr>
              <a:t> Tuningeffekt!</a:t>
            </a:r>
            <a:endParaRPr lang="de-DE" sz="2400" dirty="0"/>
          </a:p>
        </p:txBody>
      </p:sp>
      <p:sp>
        <p:nvSpPr>
          <p:cNvPr id="4" name="Pfeil: nach oben 3">
            <a:extLst>
              <a:ext uri="{FF2B5EF4-FFF2-40B4-BE49-F238E27FC236}">
                <a16:creationId xmlns:a16="http://schemas.microsoft.com/office/drawing/2014/main" id="{5C44D73B-4D41-E5BC-58C1-FD31B9C0B140}"/>
              </a:ext>
            </a:extLst>
          </p:cNvPr>
          <p:cNvSpPr/>
          <p:nvPr/>
        </p:nvSpPr>
        <p:spPr>
          <a:xfrm>
            <a:off x="566057" y="4330587"/>
            <a:ext cx="170543" cy="343014"/>
          </a:xfrm>
          <a:prstGeom prst="up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448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2E0223-2346-B5C0-65BA-5B18D68054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AC3613-F94D-5B32-B4EA-4F6014BB1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Rahmenbedingungen //</a:t>
            </a:r>
            <a:br>
              <a:rPr lang="de-DE" sz="4400" dirty="0"/>
            </a:br>
            <a:r>
              <a:rPr lang="de-DE" sz="4400" dirty="0"/>
              <a:t>v</a:t>
            </a:r>
            <a:r>
              <a:rPr lang="de-DE" dirty="0"/>
              <a:t>erfahrenstechnische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5F1D84-D16F-535D-1048-1D5A77AD52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de-DE" sz="2800" dirty="0"/>
              <a:t>Je </a:t>
            </a:r>
            <a:r>
              <a:rPr lang="de-DE" sz="2800" b="1" dirty="0"/>
              <a:t>mehr</a:t>
            </a:r>
            <a:r>
              <a:rPr lang="de-DE" sz="2800" dirty="0"/>
              <a:t> Biogas +  hohem Methangehalt / m³ Reaktorvolumen / Tag </a:t>
            </a:r>
            <a:br>
              <a:rPr lang="de-DE" sz="2800" dirty="0"/>
            </a:br>
            <a:r>
              <a:rPr lang="de-DE" sz="2800" dirty="0">
                <a:sym typeface="Wingdings" panose="05000000000000000000" pitchFamily="2" charset="2"/>
              </a:rPr>
              <a:t> kleiner </a:t>
            </a:r>
            <a:r>
              <a:rPr lang="de-DE" sz="2800" dirty="0"/>
              <a:t>Fermentervolumen bei gleicher Biogasmenge</a:t>
            </a:r>
          </a:p>
          <a:p>
            <a:pPr marL="0" indent="0">
              <a:buNone/>
            </a:pPr>
            <a:r>
              <a:rPr lang="de-DE" sz="2800" dirty="0"/>
              <a:t>Je </a:t>
            </a:r>
            <a:r>
              <a:rPr lang="de-DE" sz="2800" b="1" dirty="0"/>
              <a:t>höher</a:t>
            </a:r>
            <a:r>
              <a:rPr lang="de-DE" sz="2800" dirty="0"/>
              <a:t> Energiekonzentration + leichter anaerobe Abbaubarkeit Substratmischung </a:t>
            </a:r>
            <a:br>
              <a:rPr lang="de-DE" sz="2800" dirty="0"/>
            </a:b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desto schneller und effektiver </a:t>
            </a: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hochkalorisches Biogas erzeugt</a:t>
            </a:r>
          </a:p>
          <a:p>
            <a:pPr marL="0" indent="0">
              <a:buNone/>
            </a:pPr>
            <a:r>
              <a:rPr lang="de-DE" sz="2800" dirty="0"/>
              <a:t>Je </a:t>
            </a:r>
            <a:r>
              <a:rPr lang="de-DE" sz="2800" b="1" dirty="0"/>
              <a:t>mehr</a:t>
            </a:r>
            <a:r>
              <a:rPr lang="de-DE" sz="2800" dirty="0"/>
              <a:t> schwer abbaubare, </a:t>
            </a:r>
            <a:r>
              <a:rPr lang="de-DE" sz="2800" dirty="0" err="1"/>
              <a:t>lignozellulosereiche</a:t>
            </a:r>
            <a:r>
              <a:rPr lang="de-DE" sz="2800" dirty="0"/>
              <a:t> Substrate vergoren werden sollen </a:t>
            </a:r>
            <a:br>
              <a:rPr lang="de-DE" sz="2800" dirty="0"/>
            </a:br>
            <a:r>
              <a:rPr lang="de-DE" sz="2800" dirty="0">
                <a:sym typeface="Wingdings" panose="05000000000000000000" pitchFamily="2" charset="2"/>
              </a:rPr>
              <a:t> sind bauliche und verfahrenstechnische Anpassungen vorzusehen</a:t>
            </a:r>
          </a:p>
          <a:p>
            <a:pPr marL="0" indent="0">
              <a:buNone/>
            </a:pPr>
            <a:endParaRPr lang="de-DE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27749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BC48DF-4F88-81E3-4843-D28163BF9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atzpunkte Einsatzstoffmanagemen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89ED4A3-9FBE-7197-9C45-7A62E239D9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1883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D725F5-E663-3986-5E43-E655840D31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7C2995-637F-10FA-EE61-D27E5598B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atzpunkte Einsatzstoffmanag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6341F2-3226-83D6-18A7-A164953002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0" y="2397125"/>
            <a:ext cx="10515600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è"/>
            </a:pPr>
            <a:r>
              <a:rPr lang="de-DE" sz="2800"/>
              <a:t>Voraussetzung Konservierung als sichere und nahezu verlustarme Bevorratung der Substrate! 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/>
              <a:t>grundsätzliche Forderung nach einer nahezu gleichbleibenden, unverändert hohen Qualität der Substrate während der Dauer der Bevorratung</a:t>
            </a:r>
            <a:endParaRPr lang="de-DE" sz="2800" dirty="0"/>
          </a:p>
        </p:txBody>
      </p:sp>
      <p:pic>
        <p:nvPicPr>
          <p:cNvPr id="1028" name="Picture 4" descr="Wünsch Dir was – fernsehserien.de">
            <a:extLst>
              <a:ext uri="{FF2B5EF4-FFF2-40B4-BE49-F238E27FC236}">
                <a16:creationId xmlns:a16="http://schemas.microsoft.com/office/drawing/2014/main" id="{92DB7751-BA94-67B0-A74F-5023CFD0B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843" y="4501355"/>
            <a:ext cx="3740170" cy="1991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400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8E7DDE-FB72-8DB5-4DB3-8D8E31948E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AB6DFF-1A91-A38C-1917-37FB186EF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tehen, Interesse, Leidenschaf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6DF3694-D7F9-D918-B867-D78E752B76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800" dirty="0"/>
              <a:t>Biologie kennen..</a:t>
            </a:r>
          </a:p>
        </p:txBody>
      </p:sp>
      <p:pic>
        <p:nvPicPr>
          <p:cNvPr id="1026" name="Picture 2" descr="Rikishis compete at Tokyo's Ryogoku Kokugikan during the second Day of the 15-day Summer Grand Sumo Tournament on May 9 in Tokyo, Japan.">
            <a:extLst>
              <a:ext uri="{FF2B5EF4-FFF2-40B4-BE49-F238E27FC236}">
                <a16:creationId xmlns:a16="http://schemas.microsoft.com/office/drawing/2014/main" id="{E6BCE322-60E8-5A2B-01D2-E2D5A999A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5459" y="1690688"/>
            <a:ext cx="6423851" cy="4282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A38458F-4405-5B62-6ACC-CD87FAF07785}"/>
              </a:ext>
            </a:extLst>
          </p:cNvPr>
          <p:cNvSpPr txBox="1"/>
          <p:nvPr/>
        </p:nvSpPr>
        <p:spPr>
          <a:xfrm>
            <a:off x="4065459" y="6108192"/>
            <a:ext cx="6093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dirty="0" err="1"/>
              <a:t>Gettyimages</a:t>
            </a:r>
            <a:r>
              <a:rPr lang="de-DE" sz="1800" dirty="0"/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360890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BE820-CE3E-037C-B0EC-0856476C6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sagt denn der Vermarkter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06B2416-17DE-8F4D-162D-F62D0C1082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10338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Himmel, draußen, Wolke, Rad enthält.&#10;&#10;Automatisch generierte Beschreibung">
            <a:extLst>
              <a:ext uri="{FF2B5EF4-FFF2-40B4-BE49-F238E27FC236}">
                <a16:creationId xmlns:a16="http://schemas.microsoft.com/office/drawing/2014/main" id="{F7296335-4223-CDB8-ACFA-F0D380F779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0"/>
            <a:ext cx="12192000" cy="6857641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7BD5D12-5958-822A-D063-80CD7F2CBC24}"/>
              </a:ext>
            </a:extLst>
          </p:cNvPr>
          <p:cNvSpPr/>
          <p:nvPr/>
        </p:nvSpPr>
        <p:spPr>
          <a:xfrm rot="10800000">
            <a:off x="0" y="181"/>
            <a:ext cx="12192000" cy="6890102"/>
          </a:xfrm>
          <a:prstGeom prst="rect">
            <a:avLst/>
          </a:prstGeom>
          <a:gradFill flip="none" rotWithShape="1">
            <a:gsLst>
              <a:gs pos="34000">
                <a:schemeClr val="accent1">
                  <a:lumMod val="5000"/>
                  <a:lumOff val="95000"/>
                  <a:alpha val="0"/>
                </a:schemeClr>
              </a:gs>
              <a:gs pos="89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D25A7F6C-9860-5E47-F6AE-797F1A0DB3DE}"/>
              </a:ext>
            </a:extLst>
          </p:cNvPr>
          <p:cNvSpPr txBox="1">
            <a:spLocks/>
          </p:cNvSpPr>
          <p:nvPr/>
        </p:nvSpPr>
        <p:spPr>
          <a:xfrm>
            <a:off x="610464" y="554162"/>
            <a:ext cx="11037302" cy="4898109"/>
          </a:xfrm>
          <a:prstGeom prst="rect">
            <a:avLst/>
          </a:prstGeom>
        </p:spPr>
        <p:txBody>
          <a:bodyPr/>
          <a:lstStyle>
            <a:lvl1pPr marL="373071" indent="-373071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57" indent="-311157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29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528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3628" b="1" dirty="0">
                <a:solidFill>
                  <a:schemeClr val="bg1"/>
                </a:solidFill>
                <a:latin typeface="TT Norms Pro DemiBold" panose="020B0103030101020204" pitchFamily="34" charset="0"/>
              </a:rPr>
              <a:t>Bedarfsgerechte Fütterung </a:t>
            </a:r>
          </a:p>
          <a:p>
            <a:pPr marL="0" indent="0">
              <a:buNone/>
            </a:pPr>
            <a:r>
              <a:rPr lang="de-DE" sz="2902" dirty="0">
                <a:solidFill>
                  <a:schemeClr val="bg1"/>
                </a:solidFill>
                <a:latin typeface="TT Norms Pro" panose="020B0103030101020204" pitchFamily="34" charset="0"/>
              </a:rPr>
              <a:t>Neue Chance für</a:t>
            </a:r>
            <a:br>
              <a:rPr lang="de-DE" sz="2902" dirty="0">
                <a:solidFill>
                  <a:schemeClr val="bg1"/>
                </a:solidFill>
                <a:latin typeface="TT Norms Pro" panose="020B0103030101020204" pitchFamily="34" charset="0"/>
              </a:rPr>
            </a:br>
            <a:r>
              <a:rPr lang="de-DE" sz="2902" dirty="0">
                <a:solidFill>
                  <a:schemeClr val="bg1"/>
                </a:solidFill>
                <a:latin typeface="TT Norms Pro" panose="020B0103030101020204" pitchFamily="34" charset="0"/>
              </a:rPr>
              <a:t>viele Anlag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7E53CFA-FA91-3DD4-95F3-5CA070BFA4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3031"/>
            <a:ext cx="902844" cy="285750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67E7AA-863B-839E-0013-A9C332A9744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71514" y="7261860"/>
            <a:ext cx="1225426" cy="299403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l" defTabSz="995363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TT Norms Pro" panose="020B0103030101020204" pitchFamily="34" charset="0"/>
                <a:ea typeface="+mn-ea"/>
                <a:cs typeface="Arial" panose="020B0604020202020204" pitchFamily="34" charset="0"/>
              </a:defRPr>
            </a:lvl1pPr>
            <a:lvl2pPr marL="496888" indent="-39688" algn="l" defTabSz="99536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5363" indent="-80963" algn="l" defTabSz="99536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492250" indent="-120650" algn="l" defTabSz="99536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990725" indent="-161925" algn="l" defTabSz="995363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31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0E645F0-FC3E-A35F-F540-DDC8FA01EC07}"/>
              </a:ext>
            </a:extLst>
          </p:cNvPr>
          <p:cNvGrpSpPr/>
          <p:nvPr/>
        </p:nvGrpSpPr>
        <p:grpSpPr>
          <a:xfrm>
            <a:off x="4104130" y="6690081"/>
            <a:ext cx="3983740" cy="80596"/>
            <a:chOff x="675490" y="2988543"/>
            <a:chExt cx="9699615" cy="144000"/>
          </a:xfrm>
        </p:grpSpPr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A44D2A6C-813F-7CDB-DDF0-1B6DBEC07B7B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3ED6C3A7-663C-2676-397D-4697B93A21E5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8E14D7A2-2AE6-68D1-A74D-17E97D8D68A6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4CD250EB-BE8C-AAAE-E775-A1A4FDA2BBDA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F46C19A2-A85B-D187-171D-0CCB2E93C4EE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4948CC1D-A4C7-9B8F-A7F1-6EC989D047CC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26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2DD6FB-7998-8579-FA73-35E6AF907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bedeutet das für den Betreiber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D5956D8-3BBD-5290-BF1A-B4B7AE4A5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6846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5E1455-D785-4704-44A1-76E2BD81F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ütterungsmanagement</a:t>
            </a:r>
            <a:br>
              <a:rPr lang="de-DE" dirty="0"/>
            </a:br>
            <a:r>
              <a:rPr lang="de-DE" dirty="0"/>
              <a:t>flexible Beschick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D1EE884-591E-E0CB-CA98-F52C4BCA50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BGA mit Maissilage, Festmist, Gülle und Zuckerrüben. </a:t>
            </a:r>
          </a:p>
          <a:p>
            <a:pPr marL="0" indent="0">
              <a:buNone/>
            </a:pPr>
            <a:r>
              <a:rPr lang="de-DE" dirty="0"/>
              <a:t>a.) Unterschied im Gasspeicherbedarf (wöchentlichen, flexiblen Verstromungsfahrplan, 60h Verstromungspause übers Wochenende, kontinuierlich und bedarfsorientiert angepasster Gasproduktion)</a:t>
            </a:r>
          </a:p>
          <a:p>
            <a:pPr marL="0" indent="0">
              <a:buNone/>
            </a:pPr>
            <a:r>
              <a:rPr lang="de-DE" dirty="0"/>
              <a:t>b.) Fütterungsstrategie mit hohen Fütterungsdosen schnellen abbaubaren Substraten, bei abnehmender Fütterungsmenge,</a:t>
            </a:r>
          </a:p>
        </p:txBody>
      </p:sp>
      <p:pic>
        <p:nvPicPr>
          <p:cNvPr id="6" name="Inhaltsplatzhalter 4">
            <a:extLst>
              <a:ext uri="{FF2B5EF4-FFF2-40B4-BE49-F238E27FC236}">
                <a16:creationId xmlns:a16="http://schemas.microsoft.com/office/drawing/2014/main" id="{A8E85157-AAE2-86BC-FDAC-B245B88659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6796956" y="3429000"/>
            <a:ext cx="5134999" cy="327436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9628C03-6993-1BF8-4249-52DFCD73F11D}"/>
              </a:ext>
            </a:extLst>
          </p:cNvPr>
          <p:cNvSpPr txBox="1"/>
          <p:nvPr/>
        </p:nvSpPr>
        <p:spPr>
          <a:xfrm>
            <a:off x="2601567" y="5793830"/>
            <a:ext cx="60976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Arial Narrow" panose="020B0606020202030204" pitchFamily="34" charset="0"/>
              </a:rPr>
              <a:t>Fütterungsplan aus der Forschung</a:t>
            </a:r>
            <a:br>
              <a:rPr lang="de-DE" dirty="0">
                <a:latin typeface="Arial Narrow" panose="020B0606020202030204" pitchFamily="34" charset="0"/>
              </a:rPr>
            </a:br>
            <a:r>
              <a:rPr lang="de-DE" dirty="0">
                <a:latin typeface="Arial Narrow" panose="020B0606020202030204" pitchFamily="34" charset="0"/>
              </a:rPr>
              <a:t>bedarfsgerechte Fütterung / Bad Hersfeld </a:t>
            </a:r>
          </a:p>
        </p:txBody>
      </p:sp>
    </p:spTree>
    <p:extLst>
      <p:ext uri="{BB962C8B-B14F-4D97-AF65-F5344CB8AC3E}">
        <p14:creationId xmlns:p14="http://schemas.microsoft.com/office/powerpoint/2010/main" val="686641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45C28808-845F-89AC-3F3F-6FD9B77A3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exible Beschickung oder Rezirkulieren?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C5BFF81-16E4-CEAB-2B91-74DC930DE0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de-DE" sz="2800" dirty="0"/>
              <a:t>// </a:t>
            </a:r>
            <a:r>
              <a:rPr lang="de-DE" sz="2800" dirty="0" err="1"/>
              <a:t>Nachgärer</a:t>
            </a:r>
            <a:r>
              <a:rPr lang="de-DE" sz="2800" dirty="0"/>
              <a:t> = größeres Gärvolumen als HF</a:t>
            </a:r>
          </a:p>
          <a:p>
            <a:pPr marL="0" indent="0">
              <a:buNone/>
            </a:pPr>
            <a:r>
              <a:rPr lang="de-DE" sz="2800" dirty="0"/>
              <a:t>// Entlastung HF</a:t>
            </a:r>
          </a:p>
          <a:p>
            <a:pPr marL="0" indent="0">
              <a:buNone/>
            </a:pPr>
            <a:r>
              <a:rPr lang="de-DE" sz="2800" dirty="0"/>
              <a:t>// Fermenterbiologie NG aktiv </a:t>
            </a:r>
            <a:r>
              <a:rPr lang="de-DE" sz="2800" dirty="0">
                <a:sym typeface="Wingdings" panose="05000000000000000000" pitchFamily="2" charset="2"/>
              </a:rPr>
              <a:t> Substratb</a:t>
            </a:r>
            <a:r>
              <a:rPr lang="de-DE" sz="2800" dirty="0"/>
              <a:t>eschickung </a:t>
            </a: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messbar Biogaserzeugung steigern</a:t>
            </a:r>
          </a:p>
          <a:p>
            <a:pPr marL="0" indent="0">
              <a:buNone/>
            </a:pPr>
            <a:r>
              <a:rPr lang="de-DE" sz="2800" dirty="0"/>
              <a:t>// NG nicht gefüttert werden </a:t>
            </a:r>
            <a:r>
              <a:rPr lang="de-DE" sz="2800" dirty="0">
                <a:sym typeface="Wingdings" panose="05000000000000000000" pitchFamily="2" charset="2"/>
              </a:rPr>
              <a:t> Rezirkulation aus dem HF </a:t>
            </a:r>
            <a:r>
              <a:rPr lang="de-DE" sz="2800" dirty="0"/>
              <a:t>täglich bis zu 20 % des Arbeitsvolumens </a:t>
            </a:r>
          </a:p>
          <a:p>
            <a:pPr marL="1371600" lvl="3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Verdünnung im HF</a:t>
            </a:r>
          </a:p>
          <a:p>
            <a:pPr marL="1371600" lvl="3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Fütterung NG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26664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A27173-135B-EBF1-8288-DA14DD3ACB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387403-837D-79AE-BD67-57DD69159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tion der Substra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A5C7A5A-B27F-F680-355C-8EE1665CB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/>
              <a:t>// qualitative Veränderung 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Substratv</a:t>
            </a:r>
            <a:r>
              <a:rPr lang="de-DE" sz="2800" dirty="0"/>
              <a:t>ariation kurzfristig Mischungsanteil energiereichen + rasch vergärbaren Substraten erhöht</a:t>
            </a:r>
          </a:p>
          <a:p>
            <a:pPr marL="0" indent="0">
              <a:buNone/>
            </a:pPr>
            <a:r>
              <a:rPr lang="de-DE" sz="2800" dirty="0"/>
              <a:t>// Substrate getrennt von den regelmäßig dosierten Substraten gelagert: </a:t>
            </a:r>
            <a:br>
              <a:rPr lang="de-DE" sz="2800" dirty="0"/>
            </a:br>
            <a:r>
              <a:rPr lang="de-DE" sz="2800" dirty="0"/>
              <a:t>	Getreide, Getreideschrot, Melasse oder Zucker- Futterrüben</a:t>
            </a:r>
          </a:p>
        </p:txBody>
      </p:sp>
    </p:spTree>
    <p:extLst>
      <p:ext uri="{BB962C8B-B14F-4D97-AF65-F5344CB8AC3E}">
        <p14:creationId xmlns:p14="http://schemas.microsoft.com/office/powerpoint/2010/main" val="150627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280FA1-D279-0514-50D9-810B1BA92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riation der Substrat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ACB0138-DD4A-EFC9-5841-191F865DF5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35716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468D415-A2B9-0ACA-6FE1-225ED06E9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400" i="0" u="none" strike="noStrike" baseline="0" dirty="0">
                <a:solidFill>
                  <a:srgbClr val="000000"/>
                </a:solidFill>
              </a:rPr>
              <a:t>Batch-Abbaukurven der einzelnen Substrate </a:t>
            </a:r>
            <a:br>
              <a:rPr lang="de-DE" sz="4400" i="0" u="none" strike="noStrike" baseline="0" dirty="0">
                <a:solidFill>
                  <a:srgbClr val="000000"/>
                </a:solidFill>
              </a:rPr>
            </a:br>
            <a:r>
              <a:rPr lang="de-DE" sz="4400" i="0" u="none" strike="noStrike" baseline="0" dirty="0">
                <a:solidFill>
                  <a:srgbClr val="000000"/>
                </a:solidFill>
              </a:rPr>
              <a:t>30 Tage</a:t>
            </a:r>
            <a:r>
              <a:rPr lang="de-DE" sz="1600" i="0" u="none" strike="noStrike" baseline="0" dirty="0">
                <a:solidFill>
                  <a:srgbClr val="000000"/>
                </a:solidFill>
              </a:rPr>
              <a:t> [UBEDB 2018]  </a:t>
            </a:r>
            <a:r>
              <a:rPr lang="de-DE" dirty="0">
                <a:solidFill>
                  <a:srgbClr val="000000"/>
                </a:solidFill>
              </a:rPr>
              <a:t>% produzierte Biogasmeng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9831EAC-5932-EB08-C12B-76615090D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A1BF436-694E-04AA-B9D7-662778194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886" y="1579322"/>
            <a:ext cx="7628001" cy="4911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97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9DF62B-46DE-418B-BDBA-F138455BEC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E91134E-5CE8-033C-479D-693CABA60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400" i="0" u="none" strike="noStrike" baseline="0" dirty="0">
                <a:solidFill>
                  <a:srgbClr val="000000"/>
                </a:solidFill>
              </a:rPr>
              <a:t>Batch-Abbaukurven der einzelnen Substrate </a:t>
            </a:r>
            <a:br>
              <a:rPr lang="de-DE" sz="4400" i="0" u="none" strike="noStrike" baseline="0" dirty="0">
                <a:solidFill>
                  <a:srgbClr val="000000"/>
                </a:solidFill>
              </a:rPr>
            </a:br>
            <a:r>
              <a:rPr lang="de-DE" sz="4400" i="0" u="none" strike="noStrike" baseline="0" dirty="0">
                <a:solidFill>
                  <a:srgbClr val="000000"/>
                </a:solidFill>
              </a:rPr>
              <a:t>5 Tage, </a:t>
            </a: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64B5409-887D-2DE6-3BBF-12C00C445C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8705AA4-F0F7-8ADE-5E8C-841849FC1F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825624"/>
            <a:ext cx="7629525" cy="491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514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1A0080-9C6F-9B60-CE5E-81ED60CA3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bstrattyp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65CF1E-8130-F657-7B87-31E9B87B9B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664" y="1807337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Turbos </a:t>
            </a:r>
            <a:r>
              <a:rPr lang="de-DE" dirty="0">
                <a:sym typeface="Wingdings" panose="05000000000000000000" pitchFamily="2" charset="2"/>
              </a:rPr>
              <a:t> 50% 12-18h Abbau</a:t>
            </a:r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80% innerhalb 2-3T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Mittelläufer</a:t>
            </a:r>
            <a:r>
              <a:rPr lang="de-DE" dirty="0">
                <a:sym typeface="Wingdings" panose="05000000000000000000" pitchFamily="2" charset="2"/>
              </a:rPr>
              <a:t></a:t>
            </a:r>
            <a:r>
              <a:rPr lang="de-DE" dirty="0"/>
              <a:t>80% innerhalb 1. Woche</a:t>
            </a:r>
          </a:p>
          <a:p>
            <a:pPr marL="0" indent="0">
              <a:buNone/>
            </a:pPr>
            <a:r>
              <a:rPr lang="de-DE" dirty="0"/>
              <a:t>Schnecken </a:t>
            </a:r>
            <a:r>
              <a:rPr lang="de-DE" dirty="0">
                <a:sym typeface="Wingdings" panose="05000000000000000000" pitchFamily="2" charset="2"/>
              </a:rPr>
              <a:t> 80% innerhalb 10 Tagen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3EBC99-67AD-A5A1-3675-85B5CB678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7501" y="1735456"/>
            <a:ext cx="7629525" cy="491295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A9457ADD-DBC6-8626-0EB9-37D6BF250523}"/>
                  </a:ext>
                </a:extLst>
              </p14:cNvPr>
              <p14:cNvContentPartPr/>
              <p14:nvPr/>
            </p14:nvContentPartPr>
            <p14:xfrm flipH="1">
              <a:off x="10321842" y="3537216"/>
              <a:ext cx="743400" cy="2880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A9457ADD-DBC6-8626-0EB9-37D6BF25052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 flipH="1">
                <a:off x="10268202" y="-5102784"/>
                <a:ext cx="851040" cy="1728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Freihand 6">
                <a:extLst>
                  <a:ext uri="{FF2B5EF4-FFF2-40B4-BE49-F238E27FC236}">
                    <a16:creationId xmlns:a16="http://schemas.microsoft.com/office/drawing/2014/main" id="{B2517F2E-CB08-BB35-A13B-CE9DF4E8A121}"/>
                  </a:ext>
                </a:extLst>
              </p14:cNvPr>
              <p14:cNvContentPartPr/>
              <p14:nvPr/>
            </p14:nvContentPartPr>
            <p14:xfrm>
              <a:off x="264672" y="2005872"/>
              <a:ext cx="826560" cy="46800"/>
            </p14:xfrm>
          </p:contentPart>
        </mc:Choice>
        <mc:Fallback xmlns="">
          <p:pic>
            <p:nvPicPr>
              <p:cNvPr id="7" name="Freihand 6">
                <a:extLst>
                  <a:ext uri="{FF2B5EF4-FFF2-40B4-BE49-F238E27FC236}">
                    <a16:creationId xmlns:a16="http://schemas.microsoft.com/office/drawing/2014/main" id="{B2517F2E-CB08-BB35-A13B-CE9DF4E8A12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10672" y="1898696"/>
                <a:ext cx="934200" cy="26079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Freihand 8">
                <a:extLst>
                  <a:ext uri="{FF2B5EF4-FFF2-40B4-BE49-F238E27FC236}">
                    <a16:creationId xmlns:a16="http://schemas.microsoft.com/office/drawing/2014/main" id="{952010BB-1D8F-9C63-35DC-7C3D8D3AF4F2}"/>
                  </a:ext>
                </a:extLst>
              </p14:cNvPr>
              <p14:cNvContentPartPr/>
              <p14:nvPr/>
            </p14:nvContentPartPr>
            <p14:xfrm>
              <a:off x="10328880" y="4066698"/>
              <a:ext cx="1024920" cy="19080"/>
            </p14:xfrm>
          </p:contentPart>
        </mc:Choice>
        <mc:Fallback xmlns="">
          <p:pic>
            <p:nvPicPr>
              <p:cNvPr id="9" name="Freihand 8">
                <a:extLst>
                  <a:ext uri="{FF2B5EF4-FFF2-40B4-BE49-F238E27FC236}">
                    <a16:creationId xmlns:a16="http://schemas.microsoft.com/office/drawing/2014/main" id="{952010BB-1D8F-9C63-35DC-7C3D8D3AF4F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274880" y="3958698"/>
                <a:ext cx="1132560" cy="234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797C67CC-6398-E90C-0488-B6AB1B5EE161}"/>
                  </a:ext>
                </a:extLst>
              </p14:cNvPr>
              <p14:cNvContentPartPr/>
              <p14:nvPr/>
            </p14:nvContentPartPr>
            <p14:xfrm>
              <a:off x="10321878" y="3794796"/>
              <a:ext cx="485280" cy="4572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797C67CC-6398-E90C-0488-B6AB1B5EE161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267878" y="3686796"/>
                <a:ext cx="592920" cy="261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FEAACA01-7294-3AE0-D035-9746DB508933}"/>
                  </a:ext>
                </a:extLst>
              </p14:cNvPr>
              <p14:cNvContentPartPr/>
              <p14:nvPr/>
            </p14:nvContentPartPr>
            <p14:xfrm>
              <a:off x="294791" y="3205406"/>
              <a:ext cx="878400" cy="360"/>
            </p14:xfrm>
          </p:contentPart>
        </mc:Choice>
        <mc:Fallback xmlns=""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FEAACA01-7294-3AE0-D035-9746DB508933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40791" y="3097406"/>
                <a:ext cx="98604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AB0891EE-8E5C-FB1B-9FC3-9D47CD28E898}"/>
                  </a:ext>
                </a:extLst>
              </p14:cNvPr>
              <p14:cNvContentPartPr/>
              <p14:nvPr/>
            </p14:nvContentPartPr>
            <p14:xfrm>
              <a:off x="10204704" y="4361616"/>
              <a:ext cx="457560" cy="27720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AB0891EE-8E5C-FB1B-9FC3-9D47CD28E898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0150704" y="4253616"/>
                <a:ext cx="565200" cy="24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DB5C963F-6E73-407C-C521-C74E5D3BD42B}"/>
                  </a:ext>
                </a:extLst>
              </p14:cNvPr>
              <p14:cNvContentPartPr/>
              <p14:nvPr/>
            </p14:nvContentPartPr>
            <p14:xfrm>
              <a:off x="10286784" y="4580496"/>
              <a:ext cx="828000" cy="1980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DB5C963F-6E73-407C-C521-C74E5D3BD42B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0233144" y="4472856"/>
                <a:ext cx="935640" cy="235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18" name="Freihand 17">
                <a:extLst>
                  <a:ext uri="{FF2B5EF4-FFF2-40B4-BE49-F238E27FC236}">
                    <a16:creationId xmlns:a16="http://schemas.microsoft.com/office/drawing/2014/main" id="{48DFAA77-951F-ED36-9619-21F828BEB8AD}"/>
                  </a:ext>
                </a:extLst>
              </p14:cNvPr>
              <p14:cNvContentPartPr/>
              <p14:nvPr/>
            </p14:nvContentPartPr>
            <p14:xfrm>
              <a:off x="264672" y="2777782"/>
              <a:ext cx="908519" cy="45719"/>
            </p14:xfrm>
          </p:contentPart>
        </mc:Choice>
        <mc:Fallback xmlns="">
          <p:pic>
            <p:nvPicPr>
              <p:cNvPr id="18" name="Freihand 17">
                <a:extLst>
                  <a:ext uri="{FF2B5EF4-FFF2-40B4-BE49-F238E27FC236}">
                    <a16:creationId xmlns:a16="http://schemas.microsoft.com/office/drawing/2014/main" id="{48DFAA77-951F-ED36-9619-21F828BEB8AD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210658" y="2668927"/>
                <a:ext cx="1016187" cy="26306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19" name="Freihand 18">
                <a:extLst>
                  <a:ext uri="{FF2B5EF4-FFF2-40B4-BE49-F238E27FC236}">
                    <a16:creationId xmlns:a16="http://schemas.microsoft.com/office/drawing/2014/main" id="{108A63BD-F0A0-202B-3444-78A779DD7EE6}"/>
                  </a:ext>
                </a:extLst>
              </p14:cNvPr>
              <p14:cNvContentPartPr/>
              <p14:nvPr/>
            </p14:nvContentPartPr>
            <p14:xfrm>
              <a:off x="10369224" y="4945896"/>
              <a:ext cx="701280" cy="11160"/>
            </p14:xfrm>
          </p:contentPart>
        </mc:Choice>
        <mc:Fallback xmlns="">
          <p:pic>
            <p:nvPicPr>
              <p:cNvPr id="19" name="Freihand 18">
                <a:extLst>
                  <a:ext uri="{FF2B5EF4-FFF2-40B4-BE49-F238E27FC236}">
                    <a16:creationId xmlns:a16="http://schemas.microsoft.com/office/drawing/2014/main" id="{108A63BD-F0A0-202B-3444-78A779DD7EE6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0315584" y="4838256"/>
                <a:ext cx="808920" cy="226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1">
            <p14:nvContentPartPr>
              <p14:cNvPr id="20" name="Freihand 19">
                <a:extLst>
                  <a:ext uri="{FF2B5EF4-FFF2-40B4-BE49-F238E27FC236}">
                    <a16:creationId xmlns:a16="http://schemas.microsoft.com/office/drawing/2014/main" id="{501E8A19-EBF3-C019-B518-6F3D3C1D998A}"/>
                  </a:ext>
                </a:extLst>
              </p14:cNvPr>
              <p14:cNvContentPartPr/>
              <p14:nvPr/>
            </p14:nvContentPartPr>
            <p14:xfrm>
              <a:off x="10414944" y="5147856"/>
              <a:ext cx="966240" cy="37080"/>
            </p14:xfrm>
          </p:contentPart>
        </mc:Choice>
        <mc:Fallback xmlns="">
          <p:pic>
            <p:nvPicPr>
              <p:cNvPr id="20" name="Freihand 19">
                <a:extLst>
                  <a:ext uri="{FF2B5EF4-FFF2-40B4-BE49-F238E27FC236}">
                    <a16:creationId xmlns:a16="http://schemas.microsoft.com/office/drawing/2014/main" id="{501E8A19-EBF3-C019-B518-6F3D3C1D998A}"/>
                  </a:ext>
                </a:extLst>
              </p:cNvPr>
              <p:cNvPicPr/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10361304" y="5039856"/>
                <a:ext cx="1073880" cy="252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3">
            <p14:nvContentPartPr>
              <p14:cNvPr id="21" name="Freihand 20">
                <a:extLst>
                  <a:ext uri="{FF2B5EF4-FFF2-40B4-BE49-F238E27FC236}">
                    <a16:creationId xmlns:a16="http://schemas.microsoft.com/office/drawing/2014/main" id="{BB31A498-20DB-CC26-26AB-4923E6C547FB}"/>
                  </a:ext>
                </a:extLst>
              </p14:cNvPr>
              <p14:cNvContentPartPr/>
              <p14:nvPr/>
            </p14:nvContentPartPr>
            <p14:xfrm>
              <a:off x="10405584" y="5376816"/>
              <a:ext cx="832320" cy="360"/>
            </p14:xfrm>
          </p:contentPart>
        </mc:Choice>
        <mc:Fallback xmlns="">
          <p:pic>
            <p:nvPicPr>
              <p:cNvPr id="21" name="Freihand 20">
                <a:extLst>
                  <a:ext uri="{FF2B5EF4-FFF2-40B4-BE49-F238E27FC236}">
                    <a16:creationId xmlns:a16="http://schemas.microsoft.com/office/drawing/2014/main" id="{BB31A498-20DB-CC26-26AB-4923E6C547FB}"/>
                  </a:ext>
                </a:extLst>
              </p:cNvPr>
              <p:cNvPicPr/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10351944" y="5268816"/>
                <a:ext cx="939960" cy="21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63588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6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6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6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drawProgress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C5E20C-B956-A01B-D9CE-A24CFDD20B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5B01D8-DC77-6715-35ED-5C5A560D5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stehen, Interesse, Leidenschaf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603139D-2673-78D2-F610-30CC61D2F1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564" y="1554163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dirty="0"/>
              <a:t>Biologie kennen..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Reaktionszeit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Versorgungssicherheit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Bedarfsschwankungen ausgleichen</a:t>
            </a:r>
          </a:p>
          <a:p>
            <a:pPr marL="0" indent="0">
              <a:buNone/>
            </a:pPr>
            <a:r>
              <a:rPr lang="de-DE" sz="2800" dirty="0">
                <a:sym typeface="Wingdings" panose="05000000000000000000" pitchFamily="2" charset="2"/>
              </a:rPr>
              <a:t> </a:t>
            </a:r>
            <a:r>
              <a:rPr lang="de-DE" sz="2800" dirty="0"/>
              <a:t>Was ist der günstigste Speicher?</a:t>
            </a:r>
            <a:br>
              <a:rPr lang="de-DE" sz="2800" dirty="0"/>
            </a:br>
            <a:r>
              <a:rPr lang="de-DE" sz="2800" dirty="0"/>
              <a:t>	</a:t>
            </a:r>
          </a:p>
        </p:txBody>
      </p:sp>
      <p:pic>
        <p:nvPicPr>
          <p:cNvPr id="5" name="Grafik 4" descr="Ein Bild, das draußen, Gelände, Kleidung, Schuhwerk enthält.&#10;&#10;KI-generierte Inhalte können fehlerhaft sein.">
            <a:extLst>
              <a:ext uri="{FF2B5EF4-FFF2-40B4-BE49-F238E27FC236}">
                <a16:creationId xmlns:a16="http://schemas.microsoft.com/office/drawing/2014/main" id="{28502F47-142C-1AC9-8A57-517F4EBB74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72" r="26875" b="25424"/>
          <a:stretch/>
        </p:blipFill>
        <p:spPr>
          <a:xfrm rot="5400000">
            <a:off x="7786687" y="2662236"/>
            <a:ext cx="2652714" cy="5738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52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ChangeArrowheads="1"/>
          </p:cNvSpPr>
          <p:nvPr/>
        </p:nvSpPr>
        <p:spPr bwMode="auto">
          <a:xfrm>
            <a:off x="1666876" y="261095"/>
            <a:ext cx="8893175" cy="604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endParaRPr lang="en-US" altLang="en-US"/>
          </a:p>
        </p:txBody>
      </p:sp>
      <p:grpSp>
        <p:nvGrpSpPr>
          <p:cNvPr id="78851" name="Group 3"/>
          <p:cNvGrpSpPr>
            <a:grpSpLocks/>
          </p:cNvGrpSpPr>
          <p:nvPr/>
        </p:nvGrpSpPr>
        <p:grpSpPr bwMode="auto">
          <a:xfrm>
            <a:off x="838200" y="546943"/>
            <a:ext cx="8101013" cy="6070600"/>
            <a:chOff x="272" y="304"/>
            <a:chExt cx="5103" cy="3824"/>
          </a:xfrm>
        </p:grpSpPr>
        <p:grpSp>
          <p:nvGrpSpPr>
            <p:cNvPr id="78852" name="Group 4"/>
            <p:cNvGrpSpPr>
              <a:grpSpLocks/>
            </p:cNvGrpSpPr>
            <p:nvPr/>
          </p:nvGrpSpPr>
          <p:grpSpPr bwMode="auto">
            <a:xfrm>
              <a:off x="825" y="3677"/>
              <a:ext cx="4396" cy="214"/>
              <a:chOff x="480" y="3600"/>
              <a:chExt cx="4848" cy="240"/>
            </a:xfrm>
          </p:grpSpPr>
          <p:sp>
            <p:nvSpPr>
              <p:cNvPr id="78896" name="Line 5"/>
              <p:cNvSpPr>
                <a:spLocks noChangeShapeType="1"/>
              </p:cNvSpPr>
              <p:nvPr/>
            </p:nvSpPr>
            <p:spPr bwMode="auto">
              <a:xfrm>
                <a:off x="480" y="3600"/>
                <a:ext cx="4848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7" name="Line 6"/>
              <p:cNvSpPr>
                <a:spLocks noChangeShapeType="1"/>
              </p:cNvSpPr>
              <p:nvPr/>
            </p:nvSpPr>
            <p:spPr bwMode="auto">
              <a:xfrm>
                <a:off x="72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8" name="Line 7"/>
              <p:cNvSpPr>
                <a:spLocks noChangeShapeType="1"/>
              </p:cNvSpPr>
              <p:nvPr/>
            </p:nvSpPr>
            <p:spPr bwMode="auto">
              <a:xfrm>
                <a:off x="96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9" name="Line 8"/>
              <p:cNvSpPr>
                <a:spLocks noChangeShapeType="1"/>
              </p:cNvSpPr>
              <p:nvPr/>
            </p:nvSpPr>
            <p:spPr bwMode="auto">
              <a:xfrm>
                <a:off x="120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0" name="Line 9"/>
              <p:cNvSpPr>
                <a:spLocks noChangeShapeType="1"/>
              </p:cNvSpPr>
              <p:nvPr/>
            </p:nvSpPr>
            <p:spPr bwMode="auto">
              <a:xfrm>
                <a:off x="144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1" name="Line 10"/>
              <p:cNvSpPr>
                <a:spLocks noChangeShapeType="1"/>
              </p:cNvSpPr>
              <p:nvPr/>
            </p:nvSpPr>
            <p:spPr bwMode="auto">
              <a:xfrm>
                <a:off x="1680" y="3600"/>
                <a:ext cx="0" cy="24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2" name="Line 11"/>
              <p:cNvSpPr>
                <a:spLocks noChangeShapeType="1"/>
              </p:cNvSpPr>
              <p:nvPr/>
            </p:nvSpPr>
            <p:spPr bwMode="auto">
              <a:xfrm>
                <a:off x="192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3" name="Line 12"/>
              <p:cNvSpPr>
                <a:spLocks noChangeShapeType="1"/>
              </p:cNvSpPr>
              <p:nvPr/>
            </p:nvSpPr>
            <p:spPr bwMode="auto">
              <a:xfrm>
                <a:off x="216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4" name="Line 13"/>
              <p:cNvSpPr>
                <a:spLocks noChangeShapeType="1"/>
              </p:cNvSpPr>
              <p:nvPr/>
            </p:nvSpPr>
            <p:spPr bwMode="auto">
              <a:xfrm>
                <a:off x="240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5" name="Line 14"/>
              <p:cNvSpPr>
                <a:spLocks noChangeShapeType="1"/>
              </p:cNvSpPr>
              <p:nvPr/>
            </p:nvSpPr>
            <p:spPr bwMode="auto">
              <a:xfrm>
                <a:off x="264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6" name="Line 15"/>
              <p:cNvSpPr>
                <a:spLocks noChangeShapeType="1"/>
              </p:cNvSpPr>
              <p:nvPr/>
            </p:nvSpPr>
            <p:spPr bwMode="auto">
              <a:xfrm>
                <a:off x="288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7" name="Line 16"/>
              <p:cNvSpPr>
                <a:spLocks noChangeShapeType="1"/>
              </p:cNvSpPr>
              <p:nvPr/>
            </p:nvSpPr>
            <p:spPr bwMode="auto">
              <a:xfrm>
                <a:off x="312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8" name="Line 17"/>
              <p:cNvSpPr>
                <a:spLocks noChangeShapeType="1"/>
              </p:cNvSpPr>
              <p:nvPr/>
            </p:nvSpPr>
            <p:spPr bwMode="auto">
              <a:xfrm>
                <a:off x="336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09" name="Line 18"/>
              <p:cNvSpPr>
                <a:spLocks noChangeShapeType="1"/>
              </p:cNvSpPr>
              <p:nvPr/>
            </p:nvSpPr>
            <p:spPr bwMode="auto">
              <a:xfrm>
                <a:off x="360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0" name="Line 19"/>
              <p:cNvSpPr>
                <a:spLocks noChangeShapeType="1"/>
              </p:cNvSpPr>
              <p:nvPr/>
            </p:nvSpPr>
            <p:spPr bwMode="auto">
              <a:xfrm>
                <a:off x="384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1" name="Line 20"/>
              <p:cNvSpPr>
                <a:spLocks noChangeShapeType="1"/>
              </p:cNvSpPr>
              <p:nvPr/>
            </p:nvSpPr>
            <p:spPr bwMode="auto">
              <a:xfrm>
                <a:off x="432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2" name="Line 21"/>
              <p:cNvSpPr>
                <a:spLocks noChangeShapeType="1"/>
              </p:cNvSpPr>
              <p:nvPr/>
            </p:nvSpPr>
            <p:spPr bwMode="auto">
              <a:xfrm>
                <a:off x="456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3" name="Line 22"/>
              <p:cNvSpPr>
                <a:spLocks noChangeShapeType="1"/>
              </p:cNvSpPr>
              <p:nvPr/>
            </p:nvSpPr>
            <p:spPr bwMode="auto">
              <a:xfrm>
                <a:off x="480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4" name="Line 23"/>
              <p:cNvSpPr>
                <a:spLocks noChangeShapeType="1"/>
              </p:cNvSpPr>
              <p:nvPr/>
            </p:nvSpPr>
            <p:spPr bwMode="auto">
              <a:xfrm>
                <a:off x="5040" y="3600"/>
                <a:ext cx="0" cy="9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5" name="Line 24"/>
              <p:cNvSpPr>
                <a:spLocks noChangeShapeType="1"/>
              </p:cNvSpPr>
              <p:nvPr/>
            </p:nvSpPr>
            <p:spPr bwMode="auto">
              <a:xfrm>
                <a:off x="2880" y="3600"/>
                <a:ext cx="0" cy="24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916" name="Line 25"/>
              <p:cNvSpPr>
                <a:spLocks noChangeShapeType="1"/>
              </p:cNvSpPr>
              <p:nvPr/>
            </p:nvSpPr>
            <p:spPr bwMode="auto">
              <a:xfrm>
                <a:off x="4080" y="3600"/>
                <a:ext cx="0" cy="24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8853" name="Group 26"/>
            <p:cNvGrpSpPr>
              <a:grpSpLocks/>
            </p:cNvGrpSpPr>
            <p:nvPr/>
          </p:nvGrpSpPr>
          <p:grpSpPr bwMode="auto">
            <a:xfrm>
              <a:off x="757" y="1114"/>
              <a:ext cx="139" cy="2563"/>
              <a:chOff x="405" y="720"/>
              <a:chExt cx="153" cy="2880"/>
            </a:xfrm>
          </p:grpSpPr>
          <p:sp>
            <p:nvSpPr>
              <p:cNvPr id="78885" name="Line 27"/>
              <p:cNvSpPr>
                <a:spLocks noChangeShapeType="1"/>
              </p:cNvSpPr>
              <p:nvPr/>
            </p:nvSpPr>
            <p:spPr bwMode="auto">
              <a:xfrm>
                <a:off x="480" y="720"/>
                <a:ext cx="0" cy="28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86" name="Line 28"/>
              <p:cNvSpPr>
                <a:spLocks noChangeShapeType="1"/>
              </p:cNvSpPr>
              <p:nvPr/>
            </p:nvSpPr>
            <p:spPr bwMode="auto">
              <a:xfrm>
                <a:off x="414" y="1584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87" name="Line 29"/>
              <p:cNvSpPr>
                <a:spLocks noChangeShapeType="1"/>
              </p:cNvSpPr>
              <p:nvPr/>
            </p:nvSpPr>
            <p:spPr bwMode="auto">
              <a:xfrm>
                <a:off x="411" y="1872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88" name="Line 30"/>
              <p:cNvSpPr>
                <a:spLocks noChangeShapeType="1"/>
              </p:cNvSpPr>
              <p:nvPr/>
            </p:nvSpPr>
            <p:spPr bwMode="auto">
              <a:xfrm>
                <a:off x="414" y="2160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89" name="Line 31"/>
              <p:cNvSpPr>
                <a:spLocks noChangeShapeType="1"/>
              </p:cNvSpPr>
              <p:nvPr/>
            </p:nvSpPr>
            <p:spPr bwMode="auto">
              <a:xfrm>
                <a:off x="414" y="1008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0" name="Line 32"/>
              <p:cNvSpPr>
                <a:spLocks noChangeShapeType="1"/>
              </p:cNvSpPr>
              <p:nvPr/>
            </p:nvSpPr>
            <p:spPr bwMode="auto">
              <a:xfrm>
                <a:off x="411" y="2448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1" name="Line 33"/>
              <p:cNvSpPr>
                <a:spLocks noChangeShapeType="1"/>
              </p:cNvSpPr>
              <p:nvPr/>
            </p:nvSpPr>
            <p:spPr bwMode="auto">
              <a:xfrm>
                <a:off x="414" y="2736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2" name="Line 34"/>
              <p:cNvSpPr>
                <a:spLocks noChangeShapeType="1"/>
              </p:cNvSpPr>
              <p:nvPr/>
            </p:nvSpPr>
            <p:spPr bwMode="auto">
              <a:xfrm>
                <a:off x="405" y="1296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3" name="Line 35"/>
              <p:cNvSpPr>
                <a:spLocks noChangeShapeType="1"/>
              </p:cNvSpPr>
              <p:nvPr/>
            </p:nvSpPr>
            <p:spPr bwMode="auto">
              <a:xfrm>
                <a:off x="405" y="720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4" name="Line 36"/>
              <p:cNvSpPr>
                <a:spLocks noChangeShapeType="1"/>
              </p:cNvSpPr>
              <p:nvPr/>
            </p:nvSpPr>
            <p:spPr bwMode="auto">
              <a:xfrm>
                <a:off x="405" y="3024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895" name="Line 37"/>
              <p:cNvSpPr>
                <a:spLocks noChangeShapeType="1"/>
              </p:cNvSpPr>
              <p:nvPr/>
            </p:nvSpPr>
            <p:spPr bwMode="auto">
              <a:xfrm>
                <a:off x="411" y="3312"/>
                <a:ext cx="144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8854" name="Text Box 38"/>
            <p:cNvSpPr txBox="1">
              <a:spLocks noChangeArrowheads="1"/>
            </p:cNvSpPr>
            <p:nvPr/>
          </p:nvSpPr>
          <p:spPr bwMode="auto">
            <a:xfrm rot="-5394417">
              <a:off x="-971" y="2293"/>
              <a:ext cx="2698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>
                  <a:latin typeface="Verdana" pitchFamily="34" charset="0"/>
                </a:rPr>
                <a:t>Jeweilige Pflanzenkomponente (%)</a:t>
              </a:r>
            </a:p>
          </p:txBody>
        </p:sp>
        <p:grpSp>
          <p:nvGrpSpPr>
            <p:cNvPr id="78855" name="Group 39"/>
            <p:cNvGrpSpPr>
              <a:grpSpLocks/>
            </p:cNvGrpSpPr>
            <p:nvPr/>
          </p:nvGrpSpPr>
          <p:grpSpPr bwMode="auto">
            <a:xfrm>
              <a:off x="433" y="1004"/>
              <a:ext cx="399" cy="2277"/>
              <a:chOff x="48" y="596"/>
              <a:chExt cx="440" cy="2560"/>
            </a:xfrm>
          </p:grpSpPr>
          <p:sp>
            <p:nvSpPr>
              <p:cNvPr id="78880" name="Text Box 40"/>
              <p:cNvSpPr txBox="1">
                <a:spLocks noChangeArrowheads="1"/>
              </p:cNvSpPr>
              <p:nvPr/>
            </p:nvSpPr>
            <p:spPr bwMode="auto">
              <a:xfrm>
                <a:off x="52" y="596"/>
                <a:ext cx="436" cy="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eaLnBrk="1" hangingPunct="1"/>
                <a:r>
                  <a:rPr lang="de-DE" altLang="en-US" sz="1800">
                    <a:latin typeface="Verdana" pitchFamily="34" charset="0"/>
                  </a:rPr>
                  <a:t>100</a:t>
                </a:r>
              </a:p>
            </p:txBody>
          </p:sp>
          <p:sp>
            <p:nvSpPr>
              <p:cNvPr id="78881" name="Text Box 41"/>
              <p:cNvSpPr txBox="1">
                <a:spLocks noChangeArrowheads="1"/>
              </p:cNvSpPr>
              <p:nvPr/>
            </p:nvSpPr>
            <p:spPr bwMode="auto">
              <a:xfrm>
                <a:off x="48" y="1175"/>
                <a:ext cx="387" cy="2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eaLnBrk="1" hangingPunct="1"/>
                <a:r>
                  <a:rPr lang="de-DE" altLang="en-US" sz="1800">
                    <a:latin typeface="Verdana" pitchFamily="34" charset="0"/>
                  </a:rPr>
                  <a:t> 80</a:t>
                </a:r>
              </a:p>
            </p:txBody>
          </p:sp>
          <p:sp>
            <p:nvSpPr>
              <p:cNvPr id="78882" name="Text Box 42"/>
              <p:cNvSpPr txBox="1">
                <a:spLocks noChangeArrowheads="1"/>
              </p:cNvSpPr>
              <p:nvPr/>
            </p:nvSpPr>
            <p:spPr bwMode="auto">
              <a:xfrm>
                <a:off x="48" y="1749"/>
                <a:ext cx="387" cy="2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eaLnBrk="1" hangingPunct="1"/>
                <a:r>
                  <a:rPr lang="de-DE" altLang="en-US" sz="1800">
                    <a:latin typeface="Verdana" pitchFamily="34" charset="0"/>
                  </a:rPr>
                  <a:t> 60</a:t>
                </a:r>
              </a:p>
            </p:txBody>
          </p:sp>
          <p:sp>
            <p:nvSpPr>
              <p:cNvPr id="78883" name="Text Box 43"/>
              <p:cNvSpPr txBox="1">
                <a:spLocks noChangeArrowheads="1"/>
              </p:cNvSpPr>
              <p:nvPr/>
            </p:nvSpPr>
            <p:spPr bwMode="auto">
              <a:xfrm>
                <a:off x="48" y="2328"/>
                <a:ext cx="387" cy="2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eaLnBrk="1" hangingPunct="1"/>
                <a:r>
                  <a:rPr lang="de-DE" altLang="en-US" sz="1800">
                    <a:latin typeface="Verdana" pitchFamily="34" charset="0"/>
                  </a:rPr>
                  <a:t> 40</a:t>
                </a:r>
              </a:p>
            </p:txBody>
          </p:sp>
          <p:sp>
            <p:nvSpPr>
              <p:cNvPr id="78884" name="Text Box 44"/>
              <p:cNvSpPr txBox="1">
                <a:spLocks noChangeArrowheads="1"/>
              </p:cNvSpPr>
              <p:nvPr/>
            </p:nvSpPr>
            <p:spPr bwMode="auto">
              <a:xfrm>
                <a:off x="54" y="2896"/>
                <a:ext cx="387" cy="2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eaLnBrk="1" hangingPunct="1"/>
                <a:r>
                  <a:rPr lang="de-DE" altLang="en-US" sz="1800">
                    <a:latin typeface="Verdana" pitchFamily="34" charset="0"/>
                  </a:rPr>
                  <a:t> 20</a:t>
                </a:r>
              </a:p>
            </p:txBody>
          </p:sp>
        </p:grpSp>
        <p:sp>
          <p:nvSpPr>
            <p:cNvPr id="78856" name="Line 45"/>
            <p:cNvSpPr>
              <a:spLocks noChangeShapeType="1"/>
            </p:cNvSpPr>
            <p:nvPr/>
          </p:nvSpPr>
          <p:spPr bwMode="auto">
            <a:xfrm>
              <a:off x="825" y="1075"/>
              <a:ext cx="269" cy="2605"/>
            </a:xfrm>
            <a:prstGeom prst="line">
              <a:avLst/>
            </a:prstGeom>
            <a:noFill/>
            <a:ln w="28575">
              <a:solidFill>
                <a:srgbClr val="00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57" name="Line 46"/>
            <p:cNvSpPr>
              <a:spLocks noChangeShapeType="1"/>
            </p:cNvSpPr>
            <p:nvPr/>
          </p:nvSpPr>
          <p:spPr bwMode="auto">
            <a:xfrm>
              <a:off x="839" y="1117"/>
              <a:ext cx="709" cy="2546"/>
            </a:xfrm>
            <a:prstGeom prst="line">
              <a:avLst/>
            </a:prstGeom>
            <a:noFill/>
            <a:ln w="28575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58" name="Line 47"/>
            <p:cNvSpPr>
              <a:spLocks noChangeShapeType="1"/>
            </p:cNvSpPr>
            <p:nvPr/>
          </p:nvSpPr>
          <p:spPr bwMode="auto">
            <a:xfrm rot="480807">
              <a:off x="672" y="1419"/>
              <a:ext cx="4533" cy="1928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59" name="Text Box 48"/>
            <p:cNvSpPr txBox="1">
              <a:spLocks noChangeArrowheads="1"/>
            </p:cNvSpPr>
            <p:nvPr/>
          </p:nvSpPr>
          <p:spPr bwMode="auto">
            <a:xfrm>
              <a:off x="1791" y="3916"/>
              <a:ext cx="2436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>
                  <a:latin typeface="Verdana" pitchFamily="34" charset="0"/>
                </a:rPr>
                <a:t>Hydraulische Verweilzeit (Tage)</a:t>
              </a:r>
            </a:p>
          </p:txBody>
        </p:sp>
        <p:sp>
          <p:nvSpPr>
            <p:cNvPr id="78860" name="Text Box 49"/>
            <p:cNvSpPr txBox="1">
              <a:spLocks noChangeArrowheads="1"/>
            </p:cNvSpPr>
            <p:nvPr/>
          </p:nvSpPr>
          <p:spPr bwMode="auto">
            <a:xfrm>
              <a:off x="2862" y="304"/>
              <a:ext cx="251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 dirty="0">
                  <a:solidFill>
                    <a:srgbClr val="006600"/>
                  </a:solidFill>
                  <a:latin typeface="Verdana" pitchFamily="34" charset="0"/>
                </a:rPr>
                <a:t>Zucker, Fettsäuren, Aminosäuren</a:t>
              </a:r>
            </a:p>
          </p:txBody>
        </p:sp>
        <p:sp>
          <p:nvSpPr>
            <p:cNvPr id="78861" name="Text Box 50"/>
            <p:cNvSpPr txBox="1">
              <a:spLocks noChangeArrowheads="1"/>
            </p:cNvSpPr>
            <p:nvPr/>
          </p:nvSpPr>
          <p:spPr bwMode="auto">
            <a:xfrm>
              <a:off x="2873" y="516"/>
              <a:ext cx="1962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>
                  <a:solidFill>
                    <a:srgbClr val="003399"/>
                  </a:solidFill>
                  <a:latin typeface="Verdana" pitchFamily="34" charset="0"/>
                </a:rPr>
                <a:t>Stärke, </a:t>
              </a:r>
              <a:r>
                <a:rPr lang="de-DE" altLang="en-US" sz="1600" b="1">
                  <a:solidFill>
                    <a:srgbClr val="0099CC"/>
                  </a:solidFill>
                  <a:latin typeface="Verdana" pitchFamily="34" charset="0"/>
                </a:rPr>
                <a:t>Proteine,</a:t>
              </a:r>
              <a:r>
                <a:rPr lang="de-DE" altLang="en-US" sz="1600" b="1">
                  <a:solidFill>
                    <a:srgbClr val="003399"/>
                  </a:solidFill>
                  <a:latin typeface="Verdana" pitchFamily="34" charset="0"/>
                </a:rPr>
                <a:t> </a:t>
              </a:r>
              <a:r>
                <a:rPr lang="de-DE" altLang="en-US" sz="1600" b="1">
                  <a:solidFill>
                    <a:srgbClr val="3366CC"/>
                  </a:solidFill>
                  <a:latin typeface="Verdana" pitchFamily="34" charset="0"/>
                </a:rPr>
                <a:t>Pektine </a:t>
              </a:r>
            </a:p>
          </p:txBody>
        </p:sp>
        <p:sp>
          <p:nvSpPr>
            <p:cNvPr id="78862" name="Text Box 51"/>
            <p:cNvSpPr txBox="1">
              <a:spLocks noChangeArrowheads="1"/>
            </p:cNvSpPr>
            <p:nvPr/>
          </p:nvSpPr>
          <p:spPr bwMode="auto">
            <a:xfrm>
              <a:off x="2880" y="743"/>
              <a:ext cx="2039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>
                  <a:solidFill>
                    <a:srgbClr val="FF6600"/>
                  </a:solidFill>
                  <a:latin typeface="Verdana" pitchFamily="34" charset="0"/>
                </a:rPr>
                <a:t>Hemizellulosen,</a:t>
              </a:r>
              <a:r>
                <a:rPr lang="de-DE" altLang="en-US" sz="1600">
                  <a:latin typeface="Verdana" pitchFamily="34" charset="0"/>
                </a:rPr>
                <a:t> </a:t>
              </a:r>
              <a:r>
                <a:rPr lang="de-DE" altLang="en-US" sz="1600" b="1">
                  <a:solidFill>
                    <a:srgbClr val="FF0000"/>
                  </a:solidFill>
                  <a:latin typeface="Verdana" pitchFamily="34" charset="0"/>
                </a:rPr>
                <a:t>Zellulosen</a:t>
              </a:r>
              <a:endParaRPr lang="de-DE" altLang="en-US" sz="1600" b="1">
                <a:solidFill>
                  <a:srgbClr val="FF6600"/>
                </a:solidFill>
                <a:latin typeface="Verdana" pitchFamily="34" charset="0"/>
              </a:endParaRPr>
            </a:p>
          </p:txBody>
        </p:sp>
        <p:sp>
          <p:nvSpPr>
            <p:cNvPr id="78863" name="Line 52"/>
            <p:cNvSpPr>
              <a:spLocks noChangeShapeType="1"/>
            </p:cNvSpPr>
            <p:nvPr/>
          </p:nvSpPr>
          <p:spPr bwMode="auto">
            <a:xfrm>
              <a:off x="847" y="1103"/>
              <a:ext cx="4309" cy="39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64" name="Text Box 53"/>
            <p:cNvSpPr txBox="1">
              <a:spLocks noChangeArrowheads="1"/>
            </p:cNvSpPr>
            <p:nvPr/>
          </p:nvSpPr>
          <p:spPr bwMode="auto">
            <a:xfrm>
              <a:off x="2883" y="969"/>
              <a:ext cx="171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 b="1">
                  <a:latin typeface="Verdana" pitchFamily="34" charset="0"/>
                </a:rPr>
                <a:t>Lignin, Wachse, Harze</a:t>
              </a:r>
            </a:p>
          </p:txBody>
        </p:sp>
        <p:sp>
          <p:nvSpPr>
            <p:cNvPr id="78865" name="Line 54"/>
            <p:cNvSpPr>
              <a:spLocks noChangeShapeType="1"/>
            </p:cNvSpPr>
            <p:nvPr/>
          </p:nvSpPr>
          <p:spPr bwMode="auto">
            <a:xfrm>
              <a:off x="839" y="1139"/>
              <a:ext cx="3232" cy="2495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66" name="Line 55"/>
            <p:cNvSpPr>
              <a:spLocks noChangeShapeType="1"/>
            </p:cNvSpPr>
            <p:nvPr/>
          </p:nvSpPr>
          <p:spPr bwMode="auto">
            <a:xfrm>
              <a:off x="839" y="1196"/>
              <a:ext cx="652" cy="2467"/>
            </a:xfrm>
            <a:prstGeom prst="line">
              <a:avLst/>
            </a:prstGeom>
            <a:noFill/>
            <a:ln w="19050">
              <a:solidFill>
                <a:srgbClr val="003399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67" name="Line 56"/>
            <p:cNvSpPr>
              <a:spLocks noChangeShapeType="1"/>
            </p:cNvSpPr>
            <p:nvPr/>
          </p:nvSpPr>
          <p:spPr bwMode="auto">
            <a:xfrm>
              <a:off x="839" y="1139"/>
              <a:ext cx="1020" cy="2524"/>
            </a:xfrm>
            <a:prstGeom prst="line">
              <a:avLst/>
            </a:prstGeom>
            <a:noFill/>
            <a:ln w="28575">
              <a:solidFill>
                <a:srgbClr val="0099C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68" name="Line 57"/>
            <p:cNvSpPr>
              <a:spLocks noChangeShapeType="1"/>
            </p:cNvSpPr>
            <p:nvPr/>
          </p:nvSpPr>
          <p:spPr bwMode="auto">
            <a:xfrm>
              <a:off x="810" y="1095"/>
              <a:ext cx="964" cy="2580"/>
            </a:xfrm>
            <a:prstGeom prst="line">
              <a:avLst/>
            </a:prstGeom>
            <a:noFill/>
            <a:ln w="19050">
              <a:solidFill>
                <a:srgbClr val="0099CC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69" name="Line 58"/>
            <p:cNvSpPr>
              <a:spLocks noChangeShapeType="1"/>
            </p:cNvSpPr>
            <p:nvPr/>
          </p:nvSpPr>
          <p:spPr bwMode="auto">
            <a:xfrm>
              <a:off x="867" y="1144"/>
              <a:ext cx="1276" cy="2523"/>
            </a:xfrm>
            <a:prstGeom prst="line">
              <a:avLst/>
            </a:prstGeom>
            <a:noFill/>
            <a:ln w="28575">
              <a:solidFill>
                <a:srgbClr val="3366C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0" name="Line 59"/>
            <p:cNvSpPr>
              <a:spLocks noChangeShapeType="1"/>
            </p:cNvSpPr>
            <p:nvPr/>
          </p:nvSpPr>
          <p:spPr bwMode="auto">
            <a:xfrm>
              <a:off x="839" y="1111"/>
              <a:ext cx="1162" cy="2552"/>
            </a:xfrm>
            <a:prstGeom prst="line">
              <a:avLst/>
            </a:prstGeom>
            <a:noFill/>
            <a:ln w="19050">
              <a:solidFill>
                <a:srgbClr val="3366CC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1" name="Line 60"/>
            <p:cNvSpPr>
              <a:spLocks noChangeShapeType="1"/>
            </p:cNvSpPr>
            <p:nvPr/>
          </p:nvSpPr>
          <p:spPr bwMode="auto">
            <a:xfrm>
              <a:off x="831" y="1083"/>
              <a:ext cx="2806" cy="2580"/>
            </a:xfrm>
            <a:prstGeom prst="line">
              <a:avLst/>
            </a:prstGeom>
            <a:noFill/>
            <a:ln w="28575">
              <a:solidFill>
                <a:srgbClr val="FF6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2" name="Line 61"/>
            <p:cNvSpPr>
              <a:spLocks noChangeShapeType="1"/>
            </p:cNvSpPr>
            <p:nvPr/>
          </p:nvSpPr>
          <p:spPr bwMode="auto">
            <a:xfrm>
              <a:off x="839" y="1111"/>
              <a:ext cx="2268" cy="2552"/>
            </a:xfrm>
            <a:prstGeom prst="line">
              <a:avLst/>
            </a:prstGeom>
            <a:noFill/>
            <a:ln w="19050">
              <a:solidFill>
                <a:srgbClr val="FF66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3" name="Line 62"/>
            <p:cNvSpPr>
              <a:spLocks noChangeShapeType="1"/>
            </p:cNvSpPr>
            <p:nvPr/>
          </p:nvSpPr>
          <p:spPr bwMode="auto">
            <a:xfrm>
              <a:off x="847" y="1103"/>
              <a:ext cx="4281" cy="25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4" name="Line 63"/>
            <p:cNvSpPr>
              <a:spLocks noChangeShapeType="1"/>
            </p:cNvSpPr>
            <p:nvPr/>
          </p:nvSpPr>
          <p:spPr bwMode="auto">
            <a:xfrm>
              <a:off x="810" y="1111"/>
              <a:ext cx="4338" cy="31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5" name="Line 64"/>
            <p:cNvSpPr>
              <a:spLocks noChangeShapeType="1"/>
            </p:cNvSpPr>
            <p:nvPr/>
          </p:nvSpPr>
          <p:spPr bwMode="auto">
            <a:xfrm>
              <a:off x="2115" y="1791"/>
              <a:ext cx="652" cy="0"/>
            </a:xfrm>
            <a:prstGeom prst="line">
              <a:avLst/>
            </a:prstGeom>
            <a:noFill/>
            <a:ln w="38100">
              <a:solidFill>
                <a:srgbClr val="0033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6" name="AutoShape 65"/>
            <p:cNvSpPr>
              <a:spLocks/>
            </p:cNvSpPr>
            <p:nvPr/>
          </p:nvSpPr>
          <p:spPr bwMode="auto">
            <a:xfrm>
              <a:off x="2804" y="487"/>
              <a:ext cx="48" cy="576"/>
            </a:xfrm>
            <a:prstGeom prst="leftBracket">
              <a:avLst>
                <a:gd name="adj" fmla="val 10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8877" name="Line 66"/>
            <p:cNvSpPr>
              <a:spLocks noChangeShapeType="1"/>
            </p:cNvSpPr>
            <p:nvPr/>
          </p:nvSpPr>
          <p:spPr bwMode="auto">
            <a:xfrm>
              <a:off x="2114" y="771"/>
              <a:ext cx="624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78" name="Text Box 67"/>
            <p:cNvSpPr txBox="1">
              <a:spLocks noChangeArrowheads="1"/>
            </p:cNvSpPr>
            <p:nvPr/>
          </p:nvSpPr>
          <p:spPr bwMode="auto">
            <a:xfrm>
              <a:off x="526" y="473"/>
              <a:ext cx="1591" cy="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>
                  <a:latin typeface="Verdana" pitchFamily="34" charset="0"/>
                </a:rPr>
                <a:t>Abbaugeschwindigkeit </a:t>
              </a:r>
            </a:p>
            <a:p>
              <a:pPr eaLnBrk="1" hangingPunct="1"/>
              <a:r>
                <a:rPr lang="de-DE" altLang="en-US" sz="1600">
                  <a:latin typeface="Verdana" pitchFamily="34" charset="0"/>
                </a:rPr>
                <a:t>unterschiedlicher </a:t>
              </a:r>
            </a:p>
            <a:p>
              <a:pPr eaLnBrk="1" hangingPunct="1"/>
              <a:r>
                <a:rPr lang="de-DE" altLang="en-US" sz="1600">
                  <a:latin typeface="Verdana" pitchFamily="34" charset="0"/>
                </a:rPr>
                <a:t>Pflanzenkomponenten</a:t>
              </a:r>
            </a:p>
          </p:txBody>
        </p:sp>
        <p:sp>
          <p:nvSpPr>
            <p:cNvPr id="78879" name="Text Box 68"/>
            <p:cNvSpPr txBox="1">
              <a:spLocks noChangeArrowheads="1"/>
            </p:cNvSpPr>
            <p:nvPr/>
          </p:nvSpPr>
          <p:spPr bwMode="auto">
            <a:xfrm>
              <a:off x="2852" y="1480"/>
              <a:ext cx="2382" cy="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/>
              <a:r>
                <a:rPr lang="de-DE" altLang="en-US" sz="1600">
                  <a:latin typeface="Verdana" pitchFamily="34" charset="0"/>
                </a:rPr>
                <a:t>Steigerung der Abaugeschwindig-</a:t>
              </a:r>
            </a:p>
            <a:p>
              <a:pPr eaLnBrk="1" hangingPunct="1"/>
              <a:r>
                <a:rPr lang="de-DE" altLang="en-US" sz="1600">
                  <a:latin typeface="Verdana" pitchFamily="34" charset="0"/>
                </a:rPr>
                <a:t>keit unterschiedlicher hydrolysier-</a:t>
              </a:r>
            </a:p>
            <a:p>
              <a:pPr eaLnBrk="1" hangingPunct="1"/>
              <a:r>
                <a:rPr lang="de-DE" altLang="en-US" sz="1600">
                  <a:latin typeface="Verdana" pitchFamily="34" charset="0"/>
                </a:rPr>
                <a:t>barer Pflanzenkomponenten durch</a:t>
              </a:r>
            </a:p>
            <a:p>
              <a:pPr eaLnBrk="1" hangingPunct="1"/>
              <a:r>
                <a:rPr lang="de-DE" altLang="en-US" sz="1600">
                  <a:latin typeface="Verdana" pitchFamily="34" charset="0"/>
                </a:rPr>
                <a:t>Enzyme</a:t>
              </a:r>
            </a:p>
          </p:txBody>
        </p:sp>
      </p:grp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504FB35-FC3A-472E-89F1-05472F93FE4D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19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750" advTm="5000"/>
    </mc:Choice>
    <mc:Fallback>
      <p:transition spd="slow" advTm="500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6DC132-BDB3-52BF-4F6F-2AD02E8E1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inetik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1FEAB6-97E5-CFA2-29AE-6B9EE67446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sz="2400" dirty="0"/>
              <a:t>// Verbesserung Substratabbau durch Hydrolyse / Säureproduktion höhere Beladungsrate / </a:t>
            </a:r>
            <a:r>
              <a:rPr lang="de-DE" sz="2400" dirty="0" err="1"/>
              <a:t>Fermentereinhheit</a:t>
            </a:r>
            <a:endParaRPr lang="de-DE" sz="2400" dirty="0"/>
          </a:p>
          <a:p>
            <a:pPr marL="0" indent="0">
              <a:buNone/>
            </a:pPr>
            <a:r>
              <a:rPr lang="de-DE" sz="2400" dirty="0"/>
              <a:t>// neue Substratkombinationen / faserreiche Substrate mit energiereichem Topping</a:t>
            </a:r>
          </a:p>
          <a:p>
            <a:pPr marL="0" indent="0">
              <a:buNone/>
            </a:pPr>
            <a:r>
              <a:rPr lang="de-DE" sz="2400" dirty="0"/>
              <a:t>// Höherer Faseranteil</a:t>
            </a:r>
          </a:p>
          <a:p>
            <a:pPr marL="0" indent="0">
              <a:buNone/>
            </a:pPr>
            <a:r>
              <a:rPr lang="de-DE" sz="2400" dirty="0"/>
              <a:t>// Geringere Energiedichte  </a:t>
            </a:r>
          </a:p>
          <a:p>
            <a:pPr marL="0" indent="0">
              <a:buNone/>
            </a:pPr>
            <a:r>
              <a:rPr lang="de-DE" sz="2400" dirty="0"/>
              <a:t>// Geringerer Gasertrag/ t oTS </a:t>
            </a:r>
          </a:p>
          <a:p>
            <a:pPr marL="0" indent="0">
              <a:buNone/>
            </a:pPr>
            <a:r>
              <a:rPr lang="de-DE" sz="2400" dirty="0"/>
              <a:t>// Erhöhte Gefahr von Hemmstoffen</a:t>
            </a:r>
          </a:p>
          <a:p>
            <a:pPr marL="0" indent="0">
              <a:buNone/>
            </a:pPr>
            <a:r>
              <a:rPr lang="de-DE" sz="2400" dirty="0"/>
              <a:t>// Erhöhte Gefahr des Eintrags an Störstoffen</a:t>
            </a:r>
          </a:p>
          <a:p>
            <a:pPr marL="0" indent="0">
              <a:buNone/>
            </a:pPr>
            <a:r>
              <a:rPr lang="de-DE" sz="2400" dirty="0"/>
              <a:t>// Veränderung der Verweilzeit</a:t>
            </a:r>
          </a:p>
          <a:p>
            <a:pPr marL="0" indent="0">
              <a:buNone/>
            </a:pPr>
            <a:r>
              <a:rPr lang="de-DE" sz="2400" dirty="0"/>
              <a:t> Steigerung der Futtermenge bei Ertragserhaltung! </a:t>
            </a:r>
          </a:p>
        </p:txBody>
      </p:sp>
    </p:spTree>
    <p:extLst>
      <p:ext uri="{BB962C8B-B14F-4D97-AF65-F5344CB8AC3E}">
        <p14:creationId xmlns:p14="http://schemas.microsoft.com/office/powerpoint/2010/main" val="19744234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2E3231-EAA4-A61A-3958-D014C0FC89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E3231-EAA4-A61A-3958-D014C0FC89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3BA4C7B-4687-D3CB-99B5-782C626344A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618" t="-64692" r="618" b="79113"/>
          <a:stretch/>
        </p:blipFill>
        <p:spPr>
          <a:xfrm>
            <a:off x="0" y="-5208780"/>
            <a:ext cx="10269668" cy="6069135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58E5B7E-2AE6-6CCF-1E85-D55F5B9132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54873" y="5208754"/>
            <a:ext cx="3165035" cy="865474"/>
          </a:xfrm>
        </p:spPr>
        <p:txBody>
          <a:bodyPr/>
          <a:lstStyle/>
          <a:p>
            <a:r>
              <a:rPr lang="de-DE" dirty="0"/>
              <a:t>Veröffentlichung 2021 </a:t>
            </a:r>
            <a:br>
              <a:rPr lang="de-DE" dirty="0"/>
            </a:br>
            <a:r>
              <a:rPr lang="de-DE" dirty="0"/>
              <a:t>Jasmin Gleich</a:t>
            </a:r>
          </a:p>
          <a:p>
            <a:endParaRPr lang="de-DE" dirty="0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796FBD76-D05E-2623-DE44-2BEA64461681}"/>
              </a:ext>
            </a:extLst>
          </p:cNvPr>
          <p:cNvSpPr/>
          <p:nvPr/>
        </p:nvSpPr>
        <p:spPr>
          <a:xfrm>
            <a:off x="5068957" y="1630017"/>
            <a:ext cx="4870173" cy="435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48066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CF56ED-09D7-4F64-FCF9-FA04A9F479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E86767-264E-78BB-6651-58B2A0FF0E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E3231-EAA4-A61A-3958-D014C0FC89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3EDCC61C-B890-71E2-952E-99996E51338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28" b="7493"/>
          <a:stretch/>
        </p:blipFill>
        <p:spPr>
          <a:xfrm>
            <a:off x="3176" y="640079"/>
            <a:ext cx="10269668" cy="6069135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807437-ED53-A36F-00DF-1441601A17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54873" y="5208754"/>
            <a:ext cx="3165035" cy="865474"/>
          </a:xfrm>
        </p:spPr>
        <p:txBody>
          <a:bodyPr/>
          <a:lstStyle/>
          <a:p>
            <a:r>
              <a:rPr lang="de-DE" dirty="0"/>
              <a:t>Veröffentlichung 2021 </a:t>
            </a:r>
            <a:br>
              <a:rPr lang="de-DE" dirty="0"/>
            </a:br>
            <a:r>
              <a:rPr lang="de-DE" dirty="0"/>
              <a:t>Jasmin Gleich</a:t>
            </a:r>
          </a:p>
          <a:p>
            <a:endParaRPr lang="de-DE" dirty="0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E24E40CC-D9CE-BF10-AD4F-12F8B09C9184}"/>
              </a:ext>
            </a:extLst>
          </p:cNvPr>
          <p:cNvSpPr/>
          <p:nvPr/>
        </p:nvSpPr>
        <p:spPr>
          <a:xfrm>
            <a:off x="5068957" y="1630017"/>
            <a:ext cx="4870173" cy="435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25036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A3AEE-E0A2-7928-A71B-0CD696CBFF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6A3DA8-BFB3-A8F8-8511-546D09EC08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E3231-EAA4-A61A-3958-D014C0FC89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CE06557-8979-DD4B-975C-0E5FC73208B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7314" b="7493"/>
          <a:stretch/>
        </p:blipFill>
        <p:spPr>
          <a:xfrm>
            <a:off x="3176" y="667511"/>
            <a:ext cx="11105434" cy="6533389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1449490-BD49-7FC6-FE0A-AC0DEA175F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54873" y="5208754"/>
            <a:ext cx="3165035" cy="865474"/>
          </a:xfrm>
        </p:spPr>
        <p:txBody>
          <a:bodyPr/>
          <a:lstStyle/>
          <a:p>
            <a:r>
              <a:rPr lang="de-DE" dirty="0"/>
              <a:t>Veröffentlichung 2021 </a:t>
            </a:r>
            <a:br>
              <a:rPr lang="de-DE" dirty="0"/>
            </a:br>
            <a:r>
              <a:rPr lang="de-DE" dirty="0"/>
              <a:t>Jasmin Gleich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80136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949B6E-3F1E-C693-B7B9-5840CAC58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949B6E-3F1E-C693-B7B9-5840CAC58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290955-8228-3E9B-12A1-4D1D852416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elche Prozessstörung in 2023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AC2AB4-ADA6-F6CE-5536-F4A7354A43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243B1-946C-7633-DA2B-1E9D40DE29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2AA94D-9D80-516B-3913-5DA9BCCAF5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55520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A949B6E-3F1E-C693-B7B9-5840CAC58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949B6E-3F1E-C693-B7B9-5840CAC58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5290955-8228-3E9B-12A1-4D1D852416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Welche Prozessstörung in 2023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AC2AB4-ADA6-F6CE-5536-F4A7354A43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C243B1-946C-7633-DA2B-1E9D40DE29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2AA94D-9D80-516B-3913-5DA9BCCAF5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0877490E-938E-4878-8F25-20C0C2CCA735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27801384"/>
              </p:ext>
            </p:extLst>
          </p:nvPr>
        </p:nvGraphicFramePr>
        <p:xfrm>
          <a:off x="761948" y="2563941"/>
          <a:ext cx="7518452" cy="34090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0530">
                  <a:extLst>
                    <a:ext uri="{9D8B030D-6E8A-4147-A177-3AD203B41FA5}">
                      <a16:colId xmlns:a16="http://schemas.microsoft.com/office/drawing/2014/main" val="4094189195"/>
                    </a:ext>
                  </a:extLst>
                </a:gridCol>
                <a:gridCol w="2567922">
                  <a:extLst>
                    <a:ext uri="{9D8B030D-6E8A-4147-A177-3AD203B41FA5}">
                      <a16:colId xmlns:a16="http://schemas.microsoft.com/office/drawing/2014/main" val="283524395"/>
                    </a:ext>
                  </a:extLst>
                </a:gridCol>
              </a:tblGrid>
              <a:tr h="511604">
                <a:tc>
                  <a:txBody>
                    <a:bodyPr/>
                    <a:lstStyle/>
                    <a:p>
                      <a:endParaRPr lang="de-DE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zahl 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020603"/>
                  </a:ext>
                </a:extLst>
              </a:tr>
              <a:tr h="359226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mmung durch Verderb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 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742501"/>
                  </a:ext>
                </a:extLst>
              </a:tr>
              <a:tr h="359226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Betriebsfehler“; schlechte Durchmischung, Phasenbildung, Schwimmschichten, Substratspezifisch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815479"/>
                  </a:ext>
                </a:extLst>
              </a:tr>
              <a:tr h="885762">
                <a:tc>
                  <a:txBody>
                    <a:bodyPr/>
                    <a:lstStyle/>
                    <a:p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nstige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574208"/>
                  </a:ext>
                </a:extLst>
              </a:tr>
            </a:tbl>
          </a:graphicData>
        </a:graphic>
      </p:graphicFrame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BE45C60-7EB3-F648-9272-16A9B9DD0EB2}"/>
              </a:ext>
            </a:extLst>
          </p:cNvPr>
          <p:cNvSpPr/>
          <p:nvPr/>
        </p:nvSpPr>
        <p:spPr>
          <a:xfrm>
            <a:off x="761948" y="3633607"/>
            <a:ext cx="7518452" cy="1445740"/>
          </a:xfrm>
          <a:prstGeom prst="roundRect">
            <a:avLst/>
          </a:prstGeom>
          <a:noFill/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870349B-9440-9114-BE71-8ACE891C27F3}"/>
              </a:ext>
            </a:extLst>
          </p:cNvPr>
          <p:cNvSpPr txBox="1"/>
          <p:nvPr/>
        </p:nvSpPr>
        <p:spPr>
          <a:xfrm>
            <a:off x="8323360" y="3852965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Arial Narrow" panose="020B0606020202030204" pitchFamily="34" charset="0"/>
              </a:rPr>
              <a:t>Hauptursache Änderung der Ration!</a:t>
            </a:r>
          </a:p>
        </p:txBody>
      </p:sp>
    </p:spTree>
    <p:extLst>
      <p:ext uri="{BB962C8B-B14F-4D97-AF65-F5344CB8AC3E}">
        <p14:creationId xmlns:p14="http://schemas.microsoft.com/office/powerpoint/2010/main" val="185721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0D67800-9698-F205-2D09-3F4131B91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15" imgH="416" progId="TCLayout.ActiveDocument.1">
                  <p:embed/>
                </p:oleObj>
              </mc:Choice>
              <mc:Fallback>
                <p:oleObj name="think-cell Folie" r:id="rId6" imgW="415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D67800-9698-F205-2D09-3F4131B9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AB567F45">
            <a:hlinkClick r:id="" action="ppaction://media"/>
            <a:extLst>
              <a:ext uri="{FF2B5EF4-FFF2-40B4-BE49-F238E27FC236}">
                <a16:creationId xmlns:a16="http://schemas.microsoft.com/office/drawing/2014/main" id="{96801A7C-D45D-4166-1193-814E2C5F1EB9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984215" y="1388268"/>
            <a:ext cx="7210585" cy="4081463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086B67-A74D-CB62-C745-92EDACA540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290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97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9E29169-02F8-CA6F-1893-1293BAEC8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1B1A45-BA30-8FF3-84DB-C22D4132A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Speicherung Zwischenprodukte</a:t>
            </a:r>
            <a:br>
              <a:rPr lang="de-DE" dirty="0"/>
            </a:br>
            <a:r>
              <a:rPr lang="de-DE" dirty="0"/>
              <a:t>Gasspeicher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93EC05F-6E58-ABBB-6DA6-468E1AE583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958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5600360-289A-6CB8-0C87-7F9EEB67F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889" y="24861"/>
            <a:ext cx="10515600" cy="1325563"/>
          </a:xfrm>
        </p:spPr>
        <p:txBody>
          <a:bodyPr>
            <a:noAutofit/>
          </a:bodyPr>
          <a:lstStyle/>
          <a:p>
            <a:r>
              <a:rPr lang="de-DE" sz="2800" dirty="0"/>
              <a:t>Veränderung de Substratzufuhr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63076BE-FD34-02DA-C78D-AD4CDC7A1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159" y="2158835"/>
            <a:ext cx="10515600" cy="4351338"/>
          </a:xfrm>
        </p:spPr>
        <p:txBody>
          <a:bodyPr>
            <a:normAutofit/>
          </a:bodyPr>
          <a:lstStyle/>
          <a:p>
            <a:pPr marL="0" indent="0" algn="l">
              <a:buNone/>
            </a:pPr>
            <a:r>
              <a:rPr lang="de-DE" sz="1800" b="0" i="0" u="none" strike="noStrike" baseline="0" dirty="0"/>
              <a:t>Konstante Zufuhr: Nur ein ausreichend großes Gasspeichervolumen kann ein Leerfahren des Gasspeichers bei wechselndem Energie- bzw. Biogasbedarf verhindern</a:t>
            </a:r>
          </a:p>
          <a:p>
            <a:pPr marL="0" indent="0" algn="l">
              <a:buNone/>
            </a:pPr>
            <a:endParaRPr lang="de-DE" sz="1800" dirty="0"/>
          </a:p>
          <a:p>
            <a:pPr marL="0" indent="0" algn="l">
              <a:buNone/>
            </a:pPr>
            <a:endParaRPr lang="de-DE" sz="1800" dirty="0"/>
          </a:p>
          <a:p>
            <a:pPr marL="0" indent="0" algn="l">
              <a:buNone/>
            </a:pPr>
            <a:endParaRPr lang="de-DE" sz="1800" dirty="0"/>
          </a:p>
          <a:p>
            <a:pPr marL="0" indent="0" algn="l">
              <a:buNone/>
            </a:pPr>
            <a:endParaRPr lang="de-DE" sz="1800" dirty="0"/>
          </a:p>
          <a:p>
            <a:pPr marL="0" indent="0" algn="l">
              <a:buNone/>
            </a:pPr>
            <a:endParaRPr lang="de-DE" sz="1800" dirty="0"/>
          </a:p>
          <a:p>
            <a:pPr marL="0" indent="0" algn="l">
              <a:buNone/>
            </a:pPr>
            <a:endParaRPr lang="de-DE" sz="1800" dirty="0"/>
          </a:p>
          <a:p>
            <a:pPr marL="0" indent="0">
              <a:buNone/>
            </a:pPr>
            <a:endParaRPr lang="de-DE" sz="22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67F3BA0F-3B05-93E7-8928-F4DED887089A}"/>
                  </a:ext>
                </a:extLst>
              </p14:cNvPr>
              <p14:cNvContentPartPr/>
              <p14:nvPr/>
            </p14:nvContentPartPr>
            <p14:xfrm>
              <a:off x="1768852" y="3041280"/>
              <a:ext cx="360" cy="360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67F3BA0F-3B05-93E7-8928-F4DED887089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62732" y="3035160"/>
                <a:ext cx="12600" cy="12600"/>
              </a:xfrm>
              <a:prstGeom prst="rect">
                <a:avLst/>
              </a:prstGeom>
            </p:spPr>
          </p:pic>
        </mc:Fallback>
      </mc:AlternateContent>
      <p:pic>
        <p:nvPicPr>
          <p:cNvPr id="15" name="Grafik 14">
            <a:extLst>
              <a:ext uri="{FF2B5EF4-FFF2-40B4-BE49-F238E27FC236}">
                <a16:creationId xmlns:a16="http://schemas.microsoft.com/office/drawing/2014/main" id="{A1FE6A3A-E382-CADE-C2C1-71E7943830F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383" t="3997" r="2213" b="52791"/>
          <a:stretch/>
        </p:blipFill>
        <p:spPr>
          <a:xfrm>
            <a:off x="692394" y="3041280"/>
            <a:ext cx="9318052" cy="209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895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C701C7-80F6-7C03-5AA1-E4F379BF8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Größer Energiespeicher</a:t>
            </a:r>
            <a:br>
              <a:rPr lang="de-DE" dirty="0"/>
            </a:br>
            <a:endParaRPr lang="de-DE" dirty="0"/>
          </a:p>
        </p:txBody>
      </p:sp>
      <p:pic>
        <p:nvPicPr>
          <p:cNvPr id="9" name="Inhaltsplatzhalter 8" descr="Ein Bild, das Text, Screenshot, Multimedia-Software, Software enthält.&#10;&#10;Automatisch generierte Beschreibung">
            <a:extLst>
              <a:ext uri="{FF2B5EF4-FFF2-40B4-BE49-F238E27FC236}">
                <a16:creationId xmlns:a16="http://schemas.microsoft.com/office/drawing/2014/main" id="{18017D29-E684-EA17-979B-02D228ECB6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" t="30578" r="5669"/>
          <a:stretch/>
        </p:blipFill>
        <p:spPr>
          <a:xfrm>
            <a:off x="187679" y="1960459"/>
            <a:ext cx="11816641" cy="4783241"/>
          </a:xfrm>
        </p:spPr>
      </p:pic>
    </p:spTree>
    <p:extLst>
      <p:ext uri="{BB962C8B-B14F-4D97-AF65-F5344CB8AC3E}">
        <p14:creationId xmlns:p14="http://schemas.microsoft.com/office/powerpoint/2010/main" val="151195272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8673740-B2F7-C566-8B85-880099E94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9473466-FE91-ECF0-65B9-557803CEA9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7003"/>
          <a:stretch/>
        </p:blipFill>
        <p:spPr>
          <a:xfrm>
            <a:off x="1768852" y="1755157"/>
            <a:ext cx="9870412" cy="257224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E66A4350-8666-2409-974F-F0BF887F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889" y="24861"/>
            <a:ext cx="10515600" cy="1325563"/>
          </a:xfrm>
        </p:spPr>
        <p:txBody>
          <a:bodyPr>
            <a:noAutofit/>
          </a:bodyPr>
          <a:lstStyle/>
          <a:p>
            <a:r>
              <a:rPr lang="de-DE" sz="2800" dirty="0"/>
              <a:t>Veränderung der Substratzufuhr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96157F1-2BD4-AA3A-D424-8A46D1BA3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870" y="4426258"/>
            <a:ext cx="947199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200" b="0" i="0" u="none" strike="noStrike" baseline="0" dirty="0"/>
              <a:t>Bedarfsgerechte Substratzufuhr mit einer dementsprechend variablen Gasproduktionsrate ermöglicht es, zeitnah und effektiv auf Bedarfsschwankungen bei gleichzeitig reduzierter Anforderung an die Größe des Gasspeichervolumens zu reagieren.</a:t>
            </a:r>
            <a:endParaRPr lang="de-DE" sz="2200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4" name="Freihand 13">
                <a:extLst>
                  <a:ext uri="{FF2B5EF4-FFF2-40B4-BE49-F238E27FC236}">
                    <a16:creationId xmlns:a16="http://schemas.microsoft.com/office/drawing/2014/main" id="{132EAC68-5334-EB81-84BE-3B07DDC8A092}"/>
                  </a:ext>
                </a:extLst>
              </p14:cNvPr>
              <p14:cNvContentPartPr/>
              <p14:nvPr/>
            </p14:nvContentPartPr>
            <p14:xfrm>
              <a:off x="1768852" y="3041280"/>
              <a:ext cx="360" cy="360"/>
            </p14:xfrm>
          </p:contentPart>
        </mc:Choice>
        <mc:Fallback xmlns="">
          <p:pic>
            <p:nvPicPr>
              <p:cNvPr id="14" name="Freihand 13">
                <a:extLst>
                  <a:ext uri="{FF2B5EF4-FFF2-40B4-BE49-F238E27FC236}">
                    <a16:creationId xmlns:a16="http://schemas.microsoft.com/office/drawing/2014/main" id="{132EAC68-5334-EB81-84BE-3B07DDC8A092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762732" y="3035160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975648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689A40-D959-FFA5-FE2F-308D726FB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C02212-7502-2049-D6B0-C8B6CFDF69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334794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EB757D-68D4-D72B-3B12-C21913230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0D668F-A593-919E-5257-8B1479B12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chholz; </a:t>
            </a:r>
            <a:r>
              <a:rPr lang="de-DE" dirty="0" err="1"/>
              <a:t>Blumdorf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4C1AA7C-326F-C4DB-081D-ABE1442312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9567136-4305-69D6-1BDE-911ACB4F3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981" y="1690688"/>
            <a:ext cx="9568003" cy="448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51173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A73F273-0AE5-1666-A38D-B4D299C9EF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33818D-F09E-1053-6983-A76751D61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hampinons</a:t>
            </a:r>
            <a:r>
              <a:rPr lang="de-DE" dirty="0"/>
              <a:t> </a:t>
            </a:r>
            <a:r>
              <a:rPr lang="de-DE" dirty="0" err="1"/>
              <a:t>league</a:t>
            </a:r>
            <a:r>
              <a:rPr lang="de-DE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2A68F4-3EB5-196E-1EA9-D4767D4B6E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D7D2C96-8707-20C8-FD17-7CACCBFBA5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59" y="1450612"/>
            <a:ext cx="11765281" cy="504226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365214F-FE4F-F82E-CD4E-807C9F2CD3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399" y="773544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64FBA06-4069-977A-7E69-4A7E326CD5CE}"/>
              </a:ext>
            </a:extLst>
          </p:cNvPr>
          <p:cNvSpPr/>
          <p:nvPr/>
        </p:nvSpPr>
        <p:spPr>
          <a:xfrm>
            <a:off x="8398565" y="3836504"/>
            <a:ext cx="2812774" cy="954157"/>
          </a:xfrm>
          <a:prstGeom prst="rect">
            <a:avLst/>
          </a:prstGeom>
          <a:solidFill>
            <a:srgbClr val="DDF1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373079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014FE-18AA-1E11-0909-77E5B78B2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3FE6E1-180B-CB85-739B-33CCC682C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ologische Flexibilisierung geht gut – wenn</a:t>
            </a:r>
            <a:br>
              <a:rPr lang="de-DE" dirty="0"/>
            </a:br>
            <a:r>
              <a:rPr lang="de-DE" dirty="0"/>
              <a:t>Prozesse stabil sind und…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9623BA-5DEA-7D37-40CA-AB6D1B454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Optimale, angepasste Versorgung </a:t>
            </a:r>
            <a:br>
              <a:rPr lang="de-DE" sz="2800" dirty="0">
                <a:sym typeface="Wingdings" panose="05000000000000000000" pitchFamily="2" charset="2"/>
              </a:rPr>
            </a:br>
            <a:r>
              <a:rPr lang="de-DE" sz="2800" dirty="0">
                <a:sym typeface="Wingdings" panose="05000000000000000000" pitchFamily="2" charset="2"/>
              </a:rPr>
              <a:t>der Mikroorganismen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Technik die funktioniert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Lagerfähige Substrate</a:t>
            </a:r>
            <a:endParaRPr lang="de-DE" sz="28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ADE5A3A-B1F6-E67C-EF56-BFF1656F3B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2278" y="1493157"/>
            <a:ext cx="6837095" cy="692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09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902DFC-0B96-ABA7-6E04-303E59A62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8DBFBA-5376-FC9D-A9DB-8649F46A8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ologische Flexibilisierung geht gut – wenn</a:t>
            </a:r>
            <a:br>
              <a:rPr lang="de-DE" dirty="0"/>
            </a:br>
            <a:r>
              <a:rPr lang="de-DE" dirty="0"/>
              <a:t>Prozesse stabil sind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F473300-92B5-37A8-EA8A-CD7BD55A5B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Optimale, angepasste Versorgung </a:t>
            </a:r>
            <a:br>
              <a:rPr lang="de-DE" sz="2800" dirty="0">
                <a:sym typeface="Wingdings" panose="05000000000000000000" pitchFamily="2" charset="2"/>
              </a:rPr>
            </a:br>
            <a:r>
              <a:rPr lang="de-DE" sz="2800" dirty="0">
                <a:sym typeface="Wingdings" panose="05000000000000000000" pitchFamily="2" charset="2"/>
              </a:rPr>
              <a:t>der Mikroorganismen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Technik die funktioniert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Lagerfähige Substrate 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800" dirty="0">
                <a:sym typeface="Wingdings" panose="05000000000000000000" pitchFamily="2" charset="2"/>
              </a:rPr>
              <a:t>Anlagenführer der‘s kann!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74375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4DCFF-C0BD-20C6-9123-5F2477A46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 geht’s! </a:t>
            </a:r>
            <a:br>
              <a:rPr lang="de-DE" dirty="0"/>
            </a:br>
            <a:r>
              <a:rPr lang="de-DE" dirty="0"/>
              <a:t>Egal mit welchem Substrat?!?</a:t>
            </a:r>
          </a:p>
        </p:txBody>
      </p:sp>
      <p:pic>
        <p:nvPicPr>
          <p:cNvPr id="7" name="Grafik 6" descr="Ein Bild, das Text, Menschliches Gesicht, Screenshot, Mann enthält.&#10;&#10;KI-generierte Inhalte können fehlerhaft sein.">
            <a:extLst>
              <a:ext uri="{FF2B5EF4-FFF2-40B4-BE49-F238E27FC236}">
                <a16:creationId xmlns:a16="http://schemas.microsoft.com/office/drawing/2014/main" id="{A794718F-F6FF-3F8A-ACCC-58820B8CCF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5" t="15815" r="29275" b="-139"/>
          <a:stretch/>
        </p:blipFill>
        <p:spPr>
          <a:xfrm>
            <a:off x="7066445" y="936170"/>
            <a:ext cx="5027583" cy="582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4528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F169EF-0C7E-C6C2-7958-D8FB299F9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„Speicherkraftwerke sind sexy“ </a:t>
            </a:r>
            <a:r>
              <a:rPr lang="de-DE" sz="1400" dirty="0"/>
              <a:t>Robert Wasser 2005</a:t>
            </a:r>
            <a:r>
              <a:rPr lang="de-DE" dirty="0"/>
              <a:t>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767651-524A-1AEB-B6F9-13004EF24C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600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EF05FF-5DB2-CB7A-1BE6-89E8DAA16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„Speicherkraftwerke sind sexy“ </a:t>
            </a:r>
            <a:r>
              <a:rPr lang="de-DE" sz="1400" dirty="0"/>
              <a:t>Robert Wasser 2005</a:t>
            </a:r>
            <a:r>
              <a:rPr lang="de-DE" dirty="0"/>
              <a:t> </a:t>
            </a:r>
          </a:p>
        </p:txBody>
      </p:sp>
      <p:pic>
        <p:nvPicPr>
          <p:cNvPr id="2054" name="Picture 6" descr="Agrar-Influencerin sieht Politik auf falschem Weg | Die Glocke">
            <a:extLst>
              <a:ext uri="{FF2B5EF4-FFF2-40B4-BE49-F238E27FC236}">
                <a16:creationId xmlns:a16="http://schemas.microsoft.com/office/drawing/2014/main" id="{D6690C65-209F-C269-3C98-6622441877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102" y="1690688"/>
            <a:ext cx="4478057" cy="2686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B02E8BA8-9D54-52BA-9C05-A1E896A490F4}"/>
              </a:ext>
            </a:extLst>
          </p:cNvPr>
          <p:cNvSpPr txBox="1"/>
          <p:nvPr/>
        </p:nvSpPr>
        <p:spPr>
          <a:xfrm>
            <a:off x="388844" y="3877055"/>
            <a:ext cx="14582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  <a:latin typeface="Arial Narrow" panose="020B0606020202030204" pitchFamily="34" charset="0"/>
              </a:rPr>
              <a:t>Glocke, 2024</a:t>
            </a:r>
          </a:p>
        </p:txBody>
      </p:sp>
    </p:spTree>
    <p:extLst>
      <p:ext uri="{BB962C8B-B14F-4D97-AF65-F5344CB8AC3E}">
        <p14:creationId xmlns:p14="http://schemas.microsoft.com/office/powerpoint/2010/main" val="2232917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18E51-B380-7DCC-F4C2-7B0C3417D6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216382-DFFD-256E-8746-66E76A1E1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1A1A1A"/>
                </a:solidFill>
              </a:rPr>
              <a:t>Und flexible Fütterung erst recht weil: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050A5D7-F6FD-DBFB-DB67-B8D9291F3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914" y="1481924"/>
            <a:ext cx="11778343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de-DE" sz="2400" dirty="0">
              <a:solidFill>
                <a:srgbClr val="1A1A1A"/>
              </a:solidFill>
            </a:endParaRPr>
          </a:p>
          <a:p>
            <a:pPr marL="0" indent="0">
              <a:buNone/>
            </a:pPr>
            <a:r>
              <a:rPr lang="de-DE" sz="2400" dirty="0">
                <a:solidFill>
                  <a:srgbClr val="1A1A1A"/>
                </a:solidFill>
              </a:rPr>
              <a:t>Variation der Gasproduktion 50% </a:t>
            </a:r>
          </a:p>
          <a:p>
            <a:pPr marL="0" indent="0">
              <a:buNone/>
            </a:pPr>
            <a:endParaRPr lang="de-DE" sz="1000" dirty="0">
              <a:solidFill>
                <a:srgbClr val="1A1A1A"/>
              </a:solidFill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>
                <a:solidFill>
                  <a:srgbClr val="1A1A1A"/>
                </a:solidFill>
              </a:rPr>
              <a:t>Volumen des Gasspeichers 40 Stunden Reserve </a:t>
            </a:r>
            <a:r>
              <a:rPr lang="de-DE" sz="1600" dirty="0" err="1">
                <a:solidFill>
                  <a:srgbClr val="000000"/>
                </a:solidFill>
              </a:rPr>
              <a:t>Barchmann</a:t>
            </a:r>
            <a:r>
              <a:rPr lang="de-DE" sz="1600" dirty="0">
                <a:solidFill>
                  <a:srgbClr val="000000"/>
                </a:solidFill>
              </a:rPr>
              <a:t> et al.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>
                <a:solidFill>
                  <a:srgbClr val="000000"/>
                </a:solidFill>
              </a:rPr>
              <a:t>50 % weniger Gasspeicherbedarf. </a:t>
            </a:r>
          </a:p>
          <a:p>
            <a:pPr>
              <a:buFont typeface="Wingdings" panose="05000000000000000000" pitchFamily="2" charset="2"/>
              <a:buChar char="è"/>
            </a:pPr>
            <a:r>
              <a:rPr lang="de-DE" sz="2400" dirty="0">
                <a:solidFill>
                  <a:srgbClr val="000000"/>
                </a:solidFill>
              </a:rPr>
              <a:t>Einsparung  ca.50 % </a:t>
            </a:r>
            <a:r>
              <a:rPr lang="de-DE" sz="2400" dirty="0" err="1">
                <a:solidFill>
                  <a:srgbClr val="000000"/>
                </a:solidFill>
              </a:rPr>
              <a:t>Invest</a:t>
            </a:r>
            <a:r>
              <a:rPr lang="de-DE" sz="2400" dirty="0">
                <a:solidFill>
                  <a:srgbClr val="000000"/>
                </a:solidFill>
              </a:rPr>
              <a:t> Gasspeichererweiterung</a:t>
            </a:r>
          </a:p>
          <a:p>
            <a:pPr marL="0" indent="0">
              <a:buNone/>
            </a:pPr>
            <a:r>
              <a:rPr lang="de-DE" sz="2400" dirty="0">
                <a:solidFill>
                  <a:srgbClr val="000000"/>
                </a:solidFill>
                <a:sym typeface="Wingdings" panose="05000000000000000000" pitchFamily="2" charset="2"/>
              </a:rPr>
              <a:t> </a:t>
            </a:r>
            <a:r>
              <a:rPr lang="de-DE" sz="2400" dirty="0">
                <a:solidFill>
                  <a:srgbClr val="000000"/>
                </a:solidFill>
              </a:rPr>
              <a:t>Verschiebung Gasproduktion </a:t>
            </a:r>
            <a:r>
              <a:rPr lang="de-DE" sz="2400" dirty="0">
                <a:solidFill>
                  <a:srgbClr val="000000"/>
                </a:solidFill>
                <a:sym typeface="Wingdings" panose="05000000000000000000" pitchFamily="2" charset="2"/>
              </a:rPr>
              <a:t>zu </a:t>
            </a:r>
            <a:r>
              <a:rPr lang="de-DE" sz="2400" dirty="0">
                <a:solidFill>
                  <a:srgbClr val="000000"/>
                </a:solidFill>
              </a:rPr>
              <a:t>Verstromungszeiten</a:t>
            </a:r>
          </a:p>
          <a:p>
            <a:pPr marL="0" indent="0">
              <a:buNone/>
            </a:pPr>
            <a:r>
              <a:rPr lang="de-DE" sz="2400" dirty="0">
                <a:solidFill>
                  <a:srgbClr val="000000"/>
                </a:solidFill>
              </a:rPr>
              <a:t>// Flex. Biogasproduktion mit einem breiten, im landwirtschaftlichen Umfeld anfallenden Substratspektrum ohne große weitere Investitionen möglich </a:t>
            </a:r>
          </a:p>
          <a:p>
            <a:pPr marL="0" indent="0">
              <a:buNone/>
            </a:pPr>
            <a:r>
              <a:rPr lang="de-DE" sz="2400" dirty="0">
                <a:solidFill>
                  <a:srgbClr val="000000"/>
                </a:solidFill>
              </a:rPr>
              <a:t>// bei entsprechend vorhandenem, nutzbarem Gasspeichervolumen </a:t>
            </a:r>
            <a:br>
              <a:rPr lang="de-DE" sz="2400" dirty="0">
                <a:solidFill>
                  <a:srgbClr val="000000"/>
                </a:solidFill>
              </a:rPr>
            </a:br>
            <a:r>
              <a:rPr lang="de-DE" sz="2400" dirty="0">
                <a:solidFill>
                  <a:srgbClr val="000000"/>
                </a:solidFill>
                <a:sym typeface="Wingdings" panose="05000000000000000000" pitchFamily="2" charset="2"/>
              </a:rPr>
              <a:t> </a:t>
            </a:r>
            <a:r>
              <a:rPr lang="de-DE" sz="2400" dirty="0">
                <a:solidFill>
                  <a:srgbClr val="000000"/>
                </a:solidFill>
              </a:rPr>
              <a:t>auch auf die Gasspeichererweiterung verzichtet werden kann!</a:t>
            </a: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E3BB5B55-ABB7-6C50-243F-8F794B00F01E}"/>
              </a:ext>
            </a:extLst>
          </p:cNvPr>
          <p:cNvSpPr/>
          <p:nvPr/>
        </p:nvSpPr>
        <p:spPr>
          <a:xfrm>
            <a:off x="4350204" y="1955686"/>
            <a:ext cx="304800" cy="48985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Pfeil: nach unten 3">
            <a:extLst>
              <a:ext uri="{FF2B5EF4-FFF2-40B4-BE49-F238E27FC236}">
                <a16:creationId xmlns:a16="http://schemas.microsoft.com/office/drawing/2014/main" id="{83BAD2B9-8700-6CFA-7434-23BF2C4B5A24}"/>
              </a:ext>
            </a:extLst>
          </p:cNvPr>
          <p:cNvSpPr/>
          <p:nvPr/>
        </p:nvSpPr>
        <p:spPr>
          <a:xfrm>
            <a:off x="7696201" y="2710543"/>
            <a:ext cx="304800" cy="48985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Pfeil: nach unten 4">
            <a:extLst>
              <a:ext uri="{FF2B5EF4-FFF2-40B4-BE49-F238E27FC236}">
                <a16:creationId xmlns:a16="http://schemas.microsoft.com/office/drawing/2014/main" id="{0603D0DC-13D3-E175-00A4-FDF8BBE7FB01}"/>
              </a:ext>
            </a:extLst>
          </p:cNvPr>
          <p:cNvSpPr/>
          <p:nvPr/>
        </p:nvSpPr>
        <p:spPr>
          <a:xfrm>
            <a:off x="7696201" y="2939143"/>
            <a:ext cx="304800" cy="48985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E55FABA8-00B9-B73E-0A69-75C4A71BFE79}"/>
              </a:ext>
            </a:extLst>
          </p:cNvPr>
          <p:cNvSpPr/>
          <p:nvPr/>
        </p:nvSpPr>
        <p:spPr>
          <a:xfrm>
            <a:off x="7696201" y="3200400"/>
            <a:ext cx="304800" cy="489857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553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EB33724-3F2A-6FFC-E982-F7322BFF0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3868"/>
            <a:ext cx="10515600" cy="1325563"/>
          </a:xfrm>
        </p:spPr>
        <p:txBody>
          <a:bodyPr/>
          <a:lstStyle/>
          <a:p>
            <a:r>
              <a:rPr lang="de-DE" dirty="0"/>
              <a:t>Fahrpla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98E651A-C6D1-2355-B071-0B72FF32C4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1783" y="1178767"/>
            <a:ext cx="10515600" cy="5334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800" b="1" dirty="0"/>
              <a:t>Rahmenbedingungen</a:t>
            </a:r>
          </a:p>
          <a:p>
            <a:pPr marL="0" indent="0">
              <a:buNone/>
            </a:pPr>
            <a:r>
              <a:rPr lang="de-DE" sz="2800" dirty="0"/>
              <a:t>//	biologische</a:t>
            </a:r>
          </a:p>
          <a:p>
            <a:pPr marL="0" indent="0">
              <a:buNone/>
            </a:pPr>
            <a:r>
              <a:rPr lang="de-DE" sz="2800" dirty="0"/>
              <a:t>// 	verfahrenstechnische </a:t>
            </a:r>
          </a:p>
          <a:p>
            <a:pPr marL="0" indent="0">
              <a:buNone/>
            </a:pPr>
            <a:r>
              <a:rPr lang="de-DE" sz="2800" dirty="0"/>
              <a:t>// 	politische..</a:t>
            </a:r>
          </a:p>
          <a:p>
            <a:pPr marL="0" indent="0">
              <a:buNone/>
            </a:pPr>
            <a:endParaRPr lang="de-DE" sz="2800" b="1" dirty="0"/>
          </a:p>
          <a:p>
            <a:pPr marL="0" indent="0">
              <a:buNone/>
            </a:pPr>
            <a:r>
              <a:rPr lang="de-DE" sz="2800" b="1" dirty="0"/>
              <a:t>Ansatzpunkte</a:t>
            </a:r>
          </a:p>
          <a:p>
            <a:pPr marL="0" indent="0">
              <a:buNone/>
            </a:pPr>
            <a:r>
              <a:rPr lang="de-DE" sz="2800" dirty="0"/>
              <a:t>//	Einsatzstoffe</a:t>
            </a:r>
          </a:p>
          <a:p>
            <a:pPr marL="0" indent="0">
              <a:buNone/>
            </a:pPr>
            <a:r>
              <a:rPr lang="de-DE" sz="2800" dirty="0"/>
              <a:t>//	Fütterungsmanagement / flexible Beschickung</a:t>
            </a:r>
            <a:br>
              <a:rPr lang="de-DE" sz="2800" dirty="0"/>
            </a:br>
            <a:r>
              <a:rPr lang="de-DE" sz="2800" dirty="0"/>
              <a:t>	</a:t>
            </a:r>
            <a:r>
              <a:rPr lang="de-DE" sz="2800" dirty="0" err="1"/>
              <a:t>Nachgärer</a:t>
            </a:r>
            <a:r>
              <a:rPr lang="de-DE" sz="2800" dirty="0"/>
              <a:t> oder Rezirkulation</a:t>
            </a:r>
          </a:p>
          <a:p>
            <a:pPr marL="0" indent="0">
              <a:buNone/>
            </a:pPr>
            <a:r>
              <a:rPr lang="de-DE" sz="2800" dirty="0"/>
              <a:t>//	Variation der Substrate, Besonderheiten </a:t>
            </a:r>
          </a:p>
        </p:txBody>
      </p:sp>
    </p:spTree>
    <p:extLst>
      <p:ext uri="{BB962C8B-B14F-4D97-AF65-F5344CB8AC3E}">
        <p14:creationId xmlns:p14="http://schemas.microsoft.com/office/powerpoint/2010/main" val="1665457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 Waves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3aeaaec5-3880-4088-b310-513cec7bd490}" enabled="1" method="Privileged" siteId="{28251b10-a10d-4540-a8ef-9a856073edc3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4</Words>
  <Application>Microsoft Office PowerPoint</Application>
  <PresentationFormat>Breitbild</PresentationFormat>
  <Paragraphs>346</Paragraphs>
  <Slides>56</Slides>
  <Notes>23</Notes>
  <HiddenSlides>7</HiddenSlides>
  <MMClips>1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6</vt:i4>
      </vt:variant>
    </vt:vector>
  </HeadingPairs>
  <TitlesOfParts>
    <vt:vector size="71" baseType="lpstr">
      <vt:lpstr>Aptos</vt:lpstr>
      <vt:lpstr>Arial</vt:lpstr>
      <vt:lpstr>Arial Narrow</vt:lpstr>
      <vt:lpstr>Arial Rounded MT Bold</vt:lpstr>
      <vt:lpstr>Arial Unicode MS</vt:lpstr>
      <vt:lpstr>Calibri</vt:lpstr>
      <vt:lpstr>Roboto Condensed</vt:lpstr>
      <vt:lpstr>Segoe UI</vt:lpstr>
      <vt:lpstr>Times New Roman</vt:lpstr>
      <vt:lpstr>TT Norms Pro</vt:lpstr>
      <vt:lpstr>TT Norms Pro DemiBold</vt:lpstr>
      <vt:lpstr>Verdana</vt:lpstr>
      <vt:lpstr>Wingdings</vt:lpstr>
      <vt:lpstr>CI Waves</vt:lpstr>
      <vt:lpstr>think-cell Folie</vt:lpstr>
      <vt:lpstr>PowerPoint-Präsentation</vt:lpstr>
      <vt:lpstr>Verstehen, Interesse, Leidenschaft</vt:lpstr>
      <vt:lpstr>Verstehen, Interesse, Leidenschaft</vt:lpstr>
      <vt:lpstr>Verstehen, Interesse, Leidenschaft</vt:lpstr>
      <vt:lpstr>Größer Energiespeicher </vt:lpstr>
      <vt:lpstr>„Speicherkraftwerke sind sexy“ Robert Wasser 2005 </vt:lpstr>
      <vt:lpstr>„Speicherkraftwerke sind sexy“ Robert Wasser 2005 </vt:lpstr>
      <vt:lpstr>Und flexible Fütterung erst recht weil:</vt:lpstr>
      <vt:lpstr>Fahrplan</vt:lpstr>
      <vt:lpstr>Differenzierung </vt:lpstr>
      <vt:lpstr>Biologische Rahmenbedingungen // „hoch-runter“ </vt:lpstr>
      <vt:lpstr>PowerPoint-Präsentation</vt:lpstr>
      <vt:lpstr>Biologische Rahmenbedingungen // „hoch-runter“ </vt:lpstr>
      <vt:lpstr>PowerPoint-Präsentation</vt:lpstr>
      <vt:lpstr>Abbauschritte</vt:lpstr>
      <vt:lpstr>PowerPoint-Präsentation</vt:lpstr>
      <vt:lpstr>Rahmenbedingungen // biologische </vt:lpstr>
      <vt:lpstr>PowerPoint-Präsentation</vt:lpstr>
      <vt:lpstr>Achtung Generationszeit </vt:lpstr>
      <vt:lpstr>Achtung Generationszeit </vt:lpstr>
      <vt:lpstr>Einschub </vt:lpstr>
      <vt:lpstr>Bestimmungstiefe: Nomenklatur in der Biologie </vt:lpstr>
      <vt:lpstr>Einschub </vt:lpstr>
      <vt:lpstr>Generell: flexible Biogasbildung ist</vt:lpstr>
      <vt:lpstr>flexible Biogasbildung</vt:lpstr>
      <vt:lpstr>flexible Biogasbildung</vt:lpstr>
      <vt:lpstr>Rahmenbedingungen // verfahrenstechnische </vt:lpstr>
      <vt:lpstr>Ansatzpunkte Einsatzstoffmanagement</vt:lpstr>
      <vt:lpstr>Ansatzpunkte Einsatzstoffmanagement</vt:lpstr>
      <vt:lpstr>Was sagt denn der Vermarkter?</vt:lpstr>
      <vt:lpstr>PowerPoint-Präsentation</vt:lpstr>
      <vt:lpstr>Was bedeutet das für den Betreiber?</vt:lpstr>
      <vt:lpstr>Fütterungsmanagement flexible Beschickung</vt:lpstr>
      <vt:lpstr>Flexible Beschickung oder Rezirkulieren?</vt:lpstr>
      <vt:lpstr>Variation der Substrate</vt:lpstr>
      <vt:lpstr>Variation der Substrate</vt:lpstr>
      <vt:lpstr>Batch-Abbaukurven der einzelnen Substrate  30 Tage [UBEDB 2018]  % produzierte Biogasmenge</vt:lpstr>
      <vt:lpstr>Batch-Abbaukurven der einzelnen Substrate  5 Tage, </vt:lpstr>
      <vt:lpstr>Substrattypen</vt:lpstr>
      <vt:lpstr>PowerPoint-Präsentation</vt:lpstr>
      <vt:lpstr>Kinetik!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peicherung Zwischenprodukte Gasspeicher</vt:lpstr>
      <vt:lpstr>Veränderung de Substratzufuhr</vt:lpstr>
      <vt:lpstr>Veränderung der Substratzufuhr</vt:lpstr>
      <vt:lpstr>Beispiel</vt:lpstr>
      <vt:lpstr>Buchholz; Blumdorf</vt:lpstr>
      <vt:lpstr>Champinons league?</vt:lpstr>
      <vt:lpstr>Biologische Flexibilisierung geht gut – wenn Prozesse stabil sind und…</vt:lpstr>
      <vt:lpstr>Biologische Flexibilisierung geht gut – wenn Prozesse stabil sind!</vt:lpstr>
      <vt:lpstr>Weiter geht’s!  Egal mit welchem Substrat?!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rauz, Bettina</dc:creator>
  <cp:lastModifiedBy>Frauz, Bettina</cp:lastModifiedBy>
  <cp:revision>58</cp:revision>
  <dcterms:created xsi:type="dcterms:W3CDTF">2025-01-31T18:32:12Z</dcterms:created>
  <dcterms:modified xsi:type="dcterms:W3CDTF">2025-06-11T23:47:31Z</dcterms:modified>
</cp:coreProperties>
</file>